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425" r:id="rId2"/>
    <p:sldId id="1374" r:id="rId3"/>
    <p:sldId id="1376" r:id="rId4"/>
    <p:sldId id="1365" r:id="rId5"/>
    <p:sldId id="1372" r:id="rId6"/>
    <p:sldId id="1373" r:id="rId7"/>
    <p:sldId id="1362" r:id="rId8"/>
    <p:sldId id="1383" r:id="rId9"/>
    <p:sldId id="1382" r:id="rId10"/>
    <p:sldId id="1368" r:id="rId11"/>
    <p:sldId id="1375" r:id="rId12"/>
    <p:sldId id="1379" r:id="rId13"/>
    <p:sldId id="1385" r:id="rId14"/>
    <p:sldId id="1384" r:id="rId15"/>
    <p:sldId id="1380" r:id="rId16"/>
    <p:sldId id="1393" r:id="rId17"/>
    <p:sldId id="1387" r:id="rId18"/>
    <p:sldId id="1388" r:id="rId19"/>
    <p:sldId id="1389" r:id="rId20"/>
    <p:sldId id="1390" r:id="rId21"/>
    <p:sldId id="1386" r:id="rId22"/>
    <p:sldId id="1338" r:id="rId23"/>
  </p:sldIdLst>
  <p:sldSz cx="12192000" cy="6858000"/>
  <p:notesSz cx="6858000" cy="9144000"/>
  <p:custDataLst>
    <p:tags r:id="rId26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B2ED7C"/>
    <a:srgbClr val="6978C0"/>
    <a:srgbClr val="CFDCFF"/>
    <a:srgbClr val="6BABFE"/>
    <a:srgbClr val="2D7FD0"/>
    <a:srgbClr val="19B4F4"/>
    <a:srgbClr val="81EBFF"/>
    <a:srgbClr val="87F3A2"/>
    <a:srgbClr val="4E8F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575EB9-A058-45EF-807C-819348210780}" v="57" dt="2024-12-06T03:38:35.82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94600" autoAdjust="0"/>
  </p:normalViewPr>
  <p:slideViewPr>
    <p:cSldViewPr snapToGrid="0">
      <p:cViewPr varScale="1">
        <p:scale>
          <a:sx n="104" d="100"/>
          <a:sy n="104" d="100"/>
        </p:scale>
        <p:origin x="870" y="114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jamin andres ramirez espinoza" userId="41c815bc43c478c3" providerId="LiveId" clId="{9D575EB9-A058-45EF-807C-819348210780}"/>
    <pc:docChg chg="undo redo custSel addSld delSld modSld sldOrd">
      <pc:chgData name="benjamin andres ramirez espinoza" userId="41c815bc43c478c3" providerId="LiveId" clId="{9D575EB9-A058-45EF-807C-819348210780}" dt="2024-12-06T03:38:43.370" v="1394" actId="14100"/>
      <pc:docMkLst>
        <pc:docMk/>
      </pc:docMkLst>
      <pc:sldChg chg="modSp mod">
        <pc:chgData name="benjamin andres ramirez espinoza" userId="41c815bc43c478c3" providerId="LiveId" clId="{9D575EB9-A058-45EF-807C-819348210780}" dt="2024-12-05T21:04:42.016" v="121" actId="1076"/>
        <pc:sldMkLst>
          <pc:docMk/>
          <pc:sldMk cId="2843653453" sldId="1365"/>
        </pc:sldMkLst>
        <pc:spChg chg="mod">
          <ac:chgData name="benjamin andres ramirez espinoza" userId="41c815bc43c478c3" providerId="LiveId" clId="{9D575EB9-A058-45EF-807C-819348210780}" dt="2024-12-05T21:04:42.016" v="121" actId="1076"/>
          <ac:spMkLst>
            <pc:docMk/>
            <pc:sldMk cId="2843653453" sldId="1365"/>
            <ac:spMk id="10" creationId="{469D661C-E5F2-1FFA-9C35-7F5C601616D4}"/>
          </ac:spMkLst>
        </pc:spChg>
      </pc:sldChg>
      <pc:sldChg chg="ord">
        <pc:chgData name="benjamin andres ramirez espinoza" userId="41c815bc43c478c3" providerId="LiveId" clId="{9D575EB9-A058-45EF-807C-819348210780}" dt="2024-12-06T00:23:55.980" v="377" actId="20578"/>
        <pc:sldMkLst>
          <pc:docMk/>
          <pc:sldMk cId="0" sldId="1368"/>
        </pc:sldMkLst>
      </pc:sldChg>
      <pc:sldChg chg="modSp mod">
        <pc:chgData name="benjamin andres ramirez espinoza" userId="41c815bc43c478c3" providerId="LiveId" clId="{9D575EB9-A058-45EF-807C-819348210780}" dt="2024-12-05T21:04:30.703" v="119" actId="1076"/>
        <pc:sldMkLst>
          <pc:docMk/>
          <pc:sldMk cId="0" sldId="1373"/>
        </pc:sldMkLst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2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1:04:30.703" v="119" actId="1076"/>
          <ac:spMkLst>
            <pc:docMk/>
            <pc:sldMk cId="0" sldId="1373"/>
            <ac:spMk id="7" creationId="{7184AE72-C846-4EF8-B49A-9AFBB5850227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82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83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85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86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96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97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99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100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110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111" creationId="{00000000-0000-0000-0000-000000000000}"/>
          </ac:spMkLst>
        </pc:spChg>
        <pc:spChg chg="mod">
          <ac:chgData name="benjamin andres ramirez espinoza" userId="41c815bc43c478c3" providerId="LiveId" clId="{9D575EB9-A058-45EF-807C-819348210780}" dt="2024-12-05T20:55:51.166" v="69" actId="14100"/>
          <ac:spMkLst>
            <pc:docMk/>
            <pc:sldMk cId="0" sldId="1373"/>
            <ac:spMk id="114" creationId="{00000000-0000-0000-0000-000000000000}"/>
          </ac:spMkLst>
        </pc:s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21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25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28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31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34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70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71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72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73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5.150" v="71" actId="14100"/>
          <ac:grpSpMkLst>
            <pc:docMk/>
            <pc:sldMk cId="0" sldId="1373"/>
            <ac:grpSpMk id="74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1.166" v="69" actId="14100"/>
          <ac:grpSpMkLst>
            <pc:docMk/>
            <pc:sldMk cId="0" sldId="1373"/>
            <ac:grpSpMk id="76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1.166" v="69" actId="14100"/>
          <ac:grpSpMkLst>
            <pc:docMk/>
            <pc:sldMk cId="0" sldId="1373"/>
            <ac:grpSpMk id="78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1.166" v="69" actId="14100"/>
          <ac:grpSpMkLst>
            <pc:docMk/>
            <pc:sldMk cId="0" sldId="1373"/>
            <ac:grpSpMk id="88" creationId="{00000000-0000-0000-0000-000000000000}"/>
          </ac:grpSpMkLst>
        </pc:grpChg>
        <pc:grpChg chg="mod">
          <ac:chgData name="benjamin andres ramirez espinoza" userId="41c815bc43c478c3" providerId="LiveId" clId="{9D575EB9-A058-45EF-807C-819348210780}" dt="2024-12-05T20:55:51.166" v="69" actId="14100"/>
          <ac:grpSpMkLst>
            <pc:docMk/>
            <pc:sldMk cId="0" sldId="1373"/>
            <ac:grpSpMk id="93" creationId="{00000000-0000-0000-0000-000000000000}"/>
          </ac:grpSpMkLst>
        </pc:grpChg>
        <pc:cxnChg chg="mod">
          <ac:chgData name="benjamin andres ramirez espinoza" userId="41c815bc43c478c3" providerId="LiveId" clId="{9D575EB9-A058-45EF-807C-819348210780}" dt="2024-12-05T20:55:51.166" v="69" actId="14100"/>
          <ac:cxnSpMkLst>
            <pc:docMk/>
            <pc:sldMk cId="0" sldId="1373"/>
            <ac:cxnSpMk id="84" creationId="{00000000-0000-0000-0000-000000000000}"/>
          </ac:cxnSpMkLst>
        </pc:cxnChg>
        <pc:cxnChg chg="mod">
          <ac:chgData name="benjamin andres ramirez espinoza" userId="41c815bc43c478c3" providerId="LiveId" clId="{9D575EB9-A058-45EF-807C-819348210780}" dt="2024-12-05T20:55:51.166" v="69" actId="14100"/>
          <ac:cxnSpMkLst>
            <pc:docMk/>
            <pc:sldMk cId="0" sldId="1373"/>
            <ac:cxnSpMk id="87" creationId="{00000000-0000-0000-0000-000000000000}"/>
          </ac:cxnSpMkLst>
        </pc:cxnChg>
        <pc:cxnChg chg="mod">
          <ac:chgData name="benjamin andres ramirez espinoza" userId="41c815bc43c478c3" providerId="LiveId" clId="{9D575EB9-A058-45EF-807C-819348210780}" dt="2024-12-05T20:55:51.166" v="69" actId="14100"/>
          <ac:cxnSpMkLst>
            <pc:docMk/>
            <pc:sldMk cId="0" sldId="1373"/>
            <ac:cxnSpMk id="98" creationId="{00000000-0000-0000-0000-000000000000}"/>
          </ac:cxnSpMkLst>
        </pc:cxnChg>
        <pc:cxnChg chg="mod">
          <ac:chgData name="benjamin andres ramirez espinoza" userId="41c815bc43c478c3" providerId="LiveId" clId="{9D575EB9-A058-45EF-807C-819348210780}" dt="2024-12-05T20:55:51.166" v="69" actId="14100"/>
          <ac:cxnSpMkLst>
            <pc:docMk/>
            <pc:sldMk cId="0" sldId="1373"/>
            <ac:cxnSpMk id="101" creationId="{00000000-0000-0000-0000-000000000000}"/>
          </ac:cxnSpMkLst>
        </pc:cxnChg>
        <pc:cxnChg chg="mod">
          <ac:chgData name="benjamin andres ramirez espinoza" userId="41c815bc43c478c3" providerId="LiveId" clId="{9D575EB9-A058-45EF-807C-819348210780}" dt="2024-12-05T20:55:51.166" v="69" actId="14100"/>
          <ac:cxnSpMkLst>
            <pc:docMk/>
            <pc:sldMk cId="0" sldId="1373"/>
            <ac:cxnSpMk id="112" creationId="{00000000-0000-0000-0000-000000000000}"/>
          </ac:cxnSpMkLst>
        </pc:cxnChg>
      </pc:sldChg>
      <pc:sldChg chg="addSp delSp modSp mod">
        <pc:chgData name="benjamin andres ramirez espinoza" userId="41c815bc43c478c3" providerId="LiveId" clId="{9D575EB9-A058-45EF-807C-819348210780}" dt="2024-12-06T01:34:26.312" v="1034" actId="27614"/>
        <pc:sldMkLst>
          <pc:docMk/>
          <pc:sldMk cId="3177781710" sldId="1374"/>
        </pc:sldMkLst>
        <pc:spChg chg="del">
          <ac:chgData name="benjamin andres ramirez espinoza" userId="41c815bc43c478c3" providerId="LiveId" clId="{9D575EB9-A058-45EF-807C-819348210780}" dt="2024-12-06T01:16:34.365" v="997" actId="931"/>
          <ac:spMkLst>
            <pc:docMk/>
            <pc:sldMk cId="3177781710" sldId="1374"/>
            <ac:spMk id="23" creationId="{7E30C1B4-5855-5EDF-6CC9-95FB5F4125D5}"/>
          </ac:spMkLst>
        </pc:spChg>
        <pc:spChg chg="mod">
          <ac:chgData name="benjamin andres ramirez espinoza" userId="41c815bc43c478c3" providerId="LiveId" clId="{9D575EB9-A058-45EF-807C-819348210780}" dt="2024-12-06T00:54:23.128" v="788" actId="20577"/>
          <ac:spMkLst>
            <pc:docMk/>
            <pc:sldMk cId="3177781710" sldId="1374"/>
            <ac:spMk id="24" creationId="{9090A759-C47A-5DE5-5725-305539072B8E}"/>
          </ac:spMkLst>
        </pc:spChg>
        <pc:spChg chg="del">
          <ac:chgData name="benjamin andres ramirez espinoza" userId="41c815bc43c478c3" providerId="LiveId" clId="{9D575EB9-A058-45EF-807C-819348210780}" dt="2024-12-06T01:25:17.017" v="1006" actId="931"/>
          <ac:spMkLst>
            <pc:docMk/>
            <pc:sldMk cId="3177781710" sldId="1374"/>
            <ac:spMk id="26" creationId="{9A514A5C-822D-F40B-7972-16624AF2558A}"/>
          </ac:spMkLst>
        </pc:spChg>
        <pc:spChg chg="del mod">
          <ac:chgData name="benjamin andres ramirez espinoza" userId="41c815bc43c478c3" providerId="LiveId" clId="{9D575EB9-A058-45EF-807C-819348210780}" dt="2024-12-06T01:22:23.454" v="1004" actId="931"/>
          <ac:spMkLst>
            <pc:docMk/>
            <pc:sldMk cId="3177781710" sldId="1374"/>
            <ac:spMk id="27" creationId="{45D7B70D-C4F1-7DE6-9C69-9BE4B89E6FE7}"/>
          </ac:spMkLst>
        </pc:spChg>
        <pc:spChg chg="del">
          <ac:chgData name="benjamin andres ramirez espinoza" userId="41c815bc43c478c3" providerId="LiveId" clId="{9D575EB9-A058-45EF-807C-819348210780}" dt="2024-12-06T01:34:23.225" v="1033" actId="931"/>
          <ac:spMkLst>
            <pc:docMk/>
            <pc:sldMk cId="3177781710" sldId="1374"/>
            <ac:spMk id="28" creationId="{E12B8D1B-07ED-845E-E5C4-C4CC6AC41A67}"/>
          </ac:spMkLst>
        </pc:spChg>
        <pc:picChg chg="add mod">
          <ac:chgData name="benjamin andres ramirez espinoza" userId="41c815bc43c478c3" providerId="LiveId" clId="{9D575EB9-A058-45EF-807C-819348210780}" dt="2024-12-06T01:16:55.835" v="1003" actId="1076"/>
          <ac:picMkLst>
            <pc:docMk/>
            <pc:sldMk cId="3177781710" sldId="1374"/>
            <ac:picMk id="3" creationId="{E9F76458-553D-2855-58AA-7742093D12D1}"/>
          </ac:picMkLst>
        </pc:picChg>
        <pc:picChg chg="add mod">
          <ac:chgData name="benjamin andres ramirez espinoza" userId="41c815bc43c478c3" providerId="LiveId" clId="{9D575EB9-A058-45EF-807C-819348210780}" dt="2024-12-06T01:22:25.836" v="1005" actId="27614"/>
          <ac:picMkLst>
            <pc:docMk/>
            <pc:sldMk cId="3177781710" sldId="1374"/>
            <ac:picMk id="4" creationId="{F0A97647-E880-D200-697D-D02FCD9F6E8E}"/>
          </ac:picMkLst>
        </pc:picChg>
        <pc:picChg chg="add mod">
          <ac:chgData name="benjamin andres ramirez espinoza" userId="41c815bc43c478c3" providerId="LiveId" clId="{9D575EB9-A058-45EF-807C-819348210780}" dt="2024-12-06T01:25:20.122" v="1007" actId="27614"/>
          <ac:picMkLst>
            <pc:docMk/>
            <pc:sldMk cId="3177781710" sldId="1374"/>
            <ac:picMk id="6" creationId="{9A1B7D86-C074-5CAC-154F-0436A20795A1}"/>
          </ac:picMkLst>
        </pc:picChg>
        <pc:picChg chg="add mod">
          <ac:chgData name="benjamin andres ramirez espinoza" userId="41c815bc43c478c3" providerId="LiveId" clId="{9D575EB9-A058-45EF-807C-819348210780}" dt="2024-12-06T01:34:26.312" v="1034" actId="27614"/>
          <ac:picMkLst>
            <pc:docMk/>
            <pc:sldMk cId="3177781710" sldId="1374"/>
            <ac:picMk id="8" creationId="{51CC69C7-C734-9576-1B42-C1074CDEF22D}"/>
          </ac:picMkLst>
        </pc:picChg>
      </pc:sldChg>
      <pc:sldChg chg="modSp mod">
        <pc:chgData name="benjamin andres ramirez espinoza" userId="41c815bc43c478c3" providerId="LiveId" clId="{9D575EB9-A058-45EF-807C-819348210780}" dt="2024-12-06T00:53:56.151" v="780" actId="1076"/>
        <pc:sldMkLst>
          <pc:docMk/>
          <pc:sldMk cId="2529791030" sldId="1375"/>
        </pc:sldMkLst>
        <pc:spChg chg="mod">
          <ac:chgData name="benjamin andres ramirez espinoza" userId="41c815bc43c478c3" providerId="LiveId" clId="{9D575EB9-A058-45EF-807C-819348210780}" dt="2024-12-06T00:53:52.774" v="779" actId="1076"/>
          <ac:spMkLst>
            <pc:docMk/>
            <pc:sldMk cId="2529791030" sldId="1375"/>
            <ac:spMk id="3" creationId="{88DBF498-7FAB-EA50-A2E2-4A4B95A0A87C}"/>
          </ac:spMkLst>
        </pc:spChg>
        <pc:spChg chg="mod">
          <ac:chgData name="benjamin andres ramirez espinoza" userId="41c815bc43c478c3" providerId="LiveId" clId="{9D575EB9-A058-45EF-807C-819348210780}" dt="2024-12-05T20:59:30.953" v="83" actId="207"/>
          <ac:spMkLst>
            <pc:docMk/>
            <pc:sldMk cId="2529791030" sldId="1375"/>
            <ac:spMk id="33" creationId="{D75E6674-9842-6FF3-6719-B1467B010B8C}"/>
          </ac:spMkLst>
        </pc:spChg>
        <pc:graphicFrameChg chg="mod">
          <ac:chgData name="benjamin andres ramirez espinoza" userId="41c815bc43c478c3" providerId="LiveId" clId="{9D575EB9-A058-45EF-807C-819348210780}" dt="2024-12-06T00:53:56.151" v="780" actId="1076"/>
          <ac:graphicFrameMkLst>
            <pc:docMk/>
            <pc:sldMk cId="2529791030" sldId="1375"/>
            <ac:graphicFrameMk id="7" creationId="{B4F1028A-FBFD-8528-5E94-FF00B11B1218}"/>
          </ac:graphicFrameMkLst>
        </pc:graphicFrameChg>
      </pc:sldChg>
      <pc:sldChg chg="modSp mod">
        <pc:chgData name="benjamin andres ramirez espinoza" userId="41c815bc43c478c3" providerId="LiveId" clId="{9D575EB9-A058-45EF-807C-819348210780}" dt="2024-12-05T21:04:49.011" v="125" actId="1036"/>
        <pc:sldMkLst>
          <pc:docMk/>
          <pc:sldMk cId="3381077066" sldId="1376"/>
        </pc:sldMkLst>
        <pc:spChg chg="mod">
          <ac:chgData name="benjamin andres ramirez espinoza" userId="41c815bc43c478c3" providerId="LiveId" clId="{9D575EB9-A058-45EF-807C-819348210780}" dt="2024-12-05T21:04:47.362" v="122" actId="1076"/>
          <ac:spMkLst>
            <pc:docMk/>
            <pc:sldMk cId="3381077066" sldId="1376"/>
            <ac:spMk id="3" creationId="{0826C856-0F20-2CE6-247D-88B65FCB12EF}"/>
          </ac:spMkLst>
        </pc:spChg>
        <pc:spChg chg="mod">
          <ac:chgData name="benjamin andres ramirez espinoza" userId="41c815bc43c478c3" providerId="LiveId" clId="{9D575EB9-A058-45EF-807C-819348210780}" dt="2024-12-05T21:04:49.011" v="125" actId="1036"/>
          <ac:spMkLst>
            <pc:docMk/>
            <pc:sldMk cId="3381077066" sldId="1376"/>
            <ac:spMk id="4" creationId="{2BFA60CA-079B-44E6-D3C0-486F0251EE21}"/>
          </ac:spMkLst>
        </pc:spChg>
      </pc:sldChg>
      <pc:sldChg chg="addSp delSp modSp del mod">
        <pc:chgData name="benjamin andres ramirez espinoza" userId="41c815bc43c478c3" providerId="LiveId" clId="{9D575EB9-A058-45EF-807C-819348210780}" dt="2024-12-05T20:34:47.205" v="18" actId="47"/>
        <pc:sldMkLst>
          <pc:docMk/>
          <pc:sldMk cId="3296640032" sldId="1378"/>
        </pc:sldMkLst>
        <pc:spChg chg="del">
          <ac:chgData name="benjamin andres ramirez espinoza" userId="41c815bc43c478c3" providerId="LiveId" clId="{9D575EB9-A058-45EF-807C-819348210780}" dt="2024-12-05T20:34:38.122" v="14" actId="21"/>
          <ac:spMkLst>
            <pc:docMk/>
            <pc:sldMk cId="3296640032" sldId="1378"/>
            <ac:spMk id="4" creationId="{F80B9E39-2B95-3FD4-F9DE-D24B7175CC06}"/>
          </ac:spMkLst>
        </pc:spChg>
        <pc:spChg chg="add mod">
          <ac:chgData name="benjamin andres ramirez espinoza" userId="41c815bc43c478c3" providerId="LiveId" clId="{9D575EB9-A058-45EF-807C-819348210780}" dt="2024-12-05T20:34:38.122" v="14" actId="21"/>
          <ac:spMkLst>
            <pc:docMk/>
            <pc:sldMk cId="3296640032" sldId="1378"/>
            <ac:spMk id="5" creationId="{A7891686-69B0-0EAD-A89C-4DA1F7C14EAF}"/>
          </ac:spMkLst>
        </pc:spChg>
        <pc:picChg chg="del mod">
          <ac:chgData name="benjamin andres ramirez espinoza" userId="41c815bc43c478c3" providerId="LiveId" clId="{9D575EB9-A058-45EF-807C-819348210780}" dt="2024-12-05T20:34:25.894" v="7" actId="21"/>
          <ac:picMkLst>
            <pc:docMk/>
            <pc:sldMk cId="3296640032" sldId="1378"/>
            <ac:picMk id="6" creationId="{478430F8-EECD-FCE5-EA76-D35CC72CCFD1}"/>
          </ac:picMkLst>
        </pc:picChg>
      </pc:sldChg>
      <pc:sldChg chg="modSp mod">
        <pc:chgData name="benjamin andres ramirez espinoza" userId="41c815bc43c478c3" providerId="LiveId" clId="{9D575EB9-A058-45EF-807C-819348210780}" dt="2024-12-05T21:04:13.997" v="115" actId="1076"/>
        <pc:sldMkLst>
          <pc:docMk/>
          <pc:sldMk cId="127071265" sldId="1379"/>
        </pc:sldMkLst>
        <pc:spChg chg="mod">
          <ac:chgData name="benjamin andres ramirez espinoza" userId="41c815bc43c478c3" providerId="LiveId" clId="{9D575EB9-A058-45EF-807C-819348210780}" dt="2024-12-05T21:04:13.997" v="115" actId="1076"/>
          <ac:spMkLst>
            <pc:docMk/>
            <pc:sldMk cId="127071265" sldId="1379"/>
            <ac:spMk id="5" creationId="{C858D7B7-529D-4457-F42B-5663080A98B5}"/>
          </ac:spMkLst>
        </pc:spChg>
      </pc:sldChg>
      <pc:sldChg chg="addSp delSp modSp mod delAnim modAnim">
        <pc:chgData name="benjamin andres ramirez espinoza" userId="41c815bc43c478c3" providerId="LiveId" clId="{9D575EB9-A058-45EF-807C-819348210780}" dt="2024-12-06T03:38:17.937" v="1385" actId="21"/>
        <pc:sldMkLst>
          <pc:docMk/>
          <pc:sldMk cId="2629761854" sldId="1380"/>
        </pc:sldMkLst>
        <pc:spChg chg="mod">
          <ac:chgData name="benjamin andres ramirez espinoza" userId="41c815bc43c478c3" providerId="LiveId" clId="{9D575EB9-A058-45EF-807C-819348210780}" dt="2024-12-06T03:35:22.129" v="1349" actId="1076"/>
          <ac:spMkLst>
            <pc:docMk/>
            <pc:sldMk cId="2629761854" sldId="1380"/>
            <ac:spMk id="5" creationId="{21BB6252-DC15-E446-61FC-93B621E3D7FD}"/>
          </ac:spMkLst>
        </pc:spChg>
        <pc:picChg chg="add del mod modCrop">
          <ac:chgData name="benjamin andres ramirez espinoza" userId="41c815bc43c478c3" providerId="LiveId" clId="{9D575EB9-A058-45EF-807C-819348210780}" dt="2024-12-06T03:38:17.937" v="1385" actId="21"/>
          <ac:picMkLst>
            <pc:docMk/>
            <pc:sldMk cId="2629761854" sldId="1380"/>
            <ac:picMk id="2" creationId="{052EBE02-A8F1-1D25-3006-1A9B7FA6330F}"/>
          </ac:picMkLst>
        </pc:picChg>
      </pc:sldChg>
      <pc:sldChg chg="modSp add del mod">
        <pc:chgData name="benjamin andres ramirez espinoza" userId="41c815bc43c478c3" providerId="LiveId" clId="{9D575EB9-A058-45EF-807C-819348210780}" dt="2024-12-06T00:23:59.444" v="379" actId="47"/>
        <pc:sldMkLst>
          <pc:docMk/>
          <pc:sldMk cId="2302662305" sldId="1381"/>
        </pc:sldMkLst>
        <pc:spChg chg="mod">
          <ac:chgData name="benjamin andres ramirez espinoza" userId="41c815bc43c478c3" providerId="LiveId" clId="{9D575EB9-A058-45EF-807C-819348210780}" dt="2024-12-05T20:54:30.510" v="65" actId="1076"/>
          <ac:spMkLst>
            <pc:docMk/>
            <pc:sldMk cId="2302662305" sldId="1381"/>
            <ac:spMk id="5" creationId="{0E6E16E3-E618-F135-6EA8-9509D2BB61E1}"/>
          </ac:spMkLst>
        </pc:spChg>
      </pc:sldChg>
      <pc:sldChg chg="del">
        <pc:chgData name="benjamin andres ramirez espinoza" userId="41c815bc43c478c3" providerId="LiveId" clId="{9D575EB9-A058-45EF-807C-819348210780}" dt="2024-12-05T20:33:53.449" v="3" actId="47"/>
        <pc:sldMkLst>
          <pc:docMk/>
          <pc:sldMk cId="349974354" sldId="1383"/>
        </pc:sldMkLst>
      </pc:sldChg>
      <pc:sldChg chg="addSp delSp modSp new mod ord">
        <pc:chgData name="benjamin andres ramirez espinoza" userId="41c815bc43c478c3" providerId="LiveId" clId="{9D575EB9-A058-45EF-807C-819348210780}" dt="2024-12-06T00:55:32.674" v="790"/>
        <pc:sldMkLst>
          <pc:docMk/>
          <pc:sldMk cId="2461102757" sldId="1383"/>
        </pc:sldMkLst>
        <pc:spChg chg="add mod">
          <ac:chgData name="benjamin andres ramirez espinoza" userId="41c815bc43c478c3" providerId="LiveId" clId="{9D575EB9-A058-45EF-807C-819348210780}" dt="2024-12-05T20:53:24.947" v="64" actId="1076"/>
          <ac:spMkLst>
            <pc:docMk/>
            <pc:sldMk cId="2461102757" sldId="1383"/>
            <ac:spMk id="4" creationId="{F80B9E39-2B95-3FD4-F9DE-D24B7175CC06}"/>
          </ac:spMkLst>
        </pc:spChg>
        <pc:spChg chg="add mod">
          <ac:chgData name="benjamin andres ramirez espinoza" userId="41c815bc43c478c3" providerId="LiveId" clId="{9D575EB9-A058-45EF-807C-819348210780}" dt="2024-12-05T20:53:03.617" v="59" actId="14100"/>
          <ac:spMkLst>
            <pc:docMk/>
            <pc:sldMk cId="2461102757" sldId="1383"/>
            <ac:spMk id="14" creationId="{67A272FF-BB85-2FBD-8D53-FC1FC1F5B36A}"/>
          </ac:spMkLst>
        </pc:spChg>
        <pc:picChg chg="add mod">
          <ac:chgData name="benjamin andres ramirez espinoza" userId="41c815bc43c478c3" providerId="LiveId" clId="{9D575EB9-A058-45EF-807C-819348210780}" dt="2024-12-05T20:34:21.634" v="6"/>
          <ac:picMkLst>
            <pc:docMk/>
            <pc:sldMk cId="2461102757" sldId="1383"/>
            <ac:picMk id="3" creationId="{3E4BEE22-87F5-9AFE-D9C3-B78EE9B9C73E}"/>
          </ac:picMkLst>
        </pc:picChg>
        <pc:picChg chg="add del mod">
          <ac:chgData name="benjamin andres ramirez espinoza" userId="41c815bc43c478c3" providerId="LiveId" clId="{9D575EB9-A058-45EF-807C-819348210780}" dt="2024-12-05T20:42:45.319" v="21" actId="478"/>
          <ac:picMkLst>
            <pc:docMk/>
            <pc:sldMk cId="2461102757" sldId="1383"/>
            <ac:picMk id="6" creationId="{478430F8-EECD-FCE5-EA76-D35CC72CCFD1}"/>
          </ac:picMkLst>
        </pc:picChg>
        <pc:picChg chg="add del mod modCrop">
          <ac:chgData name="benjamin andres ramirez espinoza" userId="41c815bc43c478c3" providerId="LiveId" clId="{9D575EB9-A058-45EF-807C-819348210780}" dt="2024-12-05T20:49:11.616" v="45" actId="478"/>
          <ac:picMkLst>
            <pc:docMk/>
            <pc:sldMk cId="2461102757" sldId="1383"/>
            <ac:picMk id="7" creationId="{367FE36A-5D56-BCC0-DC94-69B8381DC8C5}"/>
          </ac:picMkLst>
        </pc:picChg>
        <pc:picChg chg="add del mod">
          <ac:chgData name="benjamin andres ramirez espinoza" userId="41c815bc43c478c3" providerId="LiveId" clId="{9D575EB9-A058-45EF-807C-819348210780}" dt="2024-12-05T20:50:57.382" v="47" actId="478"/>
          <ac:picMkLst>
            <pc:docMk/>
            <pc:sldMk cId="2461102757" sldId="1383"/>
            <ac:picMk id="9" creationId="{2F06FF85-D964-796F-CC8E-A90A966C731D}"/>
          </ac:picMkLst>
        </pc:picChg>
        <pc:picChg chg="add del mod">
          <ac:chgData name="benjamin andres ramirez espinoza" userId="41c815bc43c478c3" providerId="LiveId" clId="{9D575EB9-A058-45EF-807C-819348210780}" dt="2024-12-05T20:52:31.497" v="51" actId="478"/>
          <ac:picMkLst>
            <pc:docMk/>
            <pc:sldMk cId="2461102757" sldId="1383"/>
            <ac:picMk id="11" creationId="{A16A82C3-9FA7-67BC-6F50-EDC332B02A3E}"/>
          </ac:picMkLst>
        </pc:picChg>
        <pc:picChg chg="add mod ord">
          <ac:chgData name="benjamin andres ramirez espinoza" userId="41c815bc43c478c3" providerId="LiveId" clId="{9D575EB9-A058-45EF-807C-819348210780}" dt="2024-12-06T00:26:01.021" v="380" actId="14100"/>
          <ac:picMkLst>
            <pc:docMk/>
            <pc:sldMk cId="2461102757" sldId="1383"/>
            <ac:picMk id="13" creationId="{5943F1E9-6A55-172D-87CA-BFC359D7E8AA}"/>
          </ac:picMkLst>
        </pc:picChg>
      </pc:sldChg>
      <pc:sldChg chg="new del">
        <pc:chgData name="benjamin andres ramirez espinoza" userId="41c815bc43c478c3" providerId="LiveId" clId="{9D575EB9-A058-45EF-807C-819348210780}" dt="2024-12-05T20:57:09.308" v="73" actId="680"/>
        <pc:sldMkLst>
          <pc:docMk/>
          <pc:sldMk cId="596743570" sldId="1384"/>
        </pc:sldMkLst>
      </pc:sldChg>
      <pc:sldChg chg="new del">
        <pc:chgData name="benjamin andres ramirez espinoza" userId="41c815bc43c478c3" providerId="LiveId" clId="{9D575EB9-A058-45EF-807C-819348210780}" dt="2024-12-05T20:55:00.607" v="67" actId="680"/>
        <pc:sldMkLst>
          <pc:docMk/>
          <pc:sldMk cId="1953637093" sldId="1384"/>
        </pc:sldMkLst>
      </pc:sldChg>
      <pc:sldChg chg="new del">
        <pc:chgData name="benjamin andres ramirez espinoza" userId="41c815bc43c478c3" providerId="LiveId" clId="{9D575EB9-A058-45EF-807C-819348210780}" dt="2024-12-05T20:57:28.983" v="75" actId="47"/>
        <pc:sldMkLst>
          <pc:docMk/>
          <pc:sldMk cId="1959099997" sldId="1384"/>
        </pc:sldMkLst>
      </pc:sldChg>
      <pc:sldChg chg="del">
        <pc:chgData name="benjamin andres ramirez espinoza" userId="41c815bc43c478c3" providerId="LiveId" clId="{9D575EB9-A058-45EF-807C-819348210780}" dt="2024-12-05T20:33:52.223" v="2" actId="47"/>
        <pc:sldMkLst>
          <pc:docMk/>
          <pc:sldMk cId="2028755240" sldId="1384"/>
        </pc:sldMkLst>
      </pc:sldChg>
      <pc:sldChg chg="addSp delSp modSp new mod ord">
        <pc:chgData name="benjamin andres ramirez espinoza" userId="41c815bc43c478c3" providerId="LiveId" clId="{9D575EB9-A058-45EF-807C-819348210780}" dt="2024-12-06T02:09:59.139" v="1258" actId="1076"/>
        <pc:sldMkLst>
          <pc:docMk/>
          <pc:sldMk cId="2125474985" sldId="1384"/>
        </pc:sldMkLst>
        <pc:spChg chg="add mod">
          <ac:chgData name="benjamin andres ramirez espinoza" userId="41c815bc43c478c3" providerId="LiveId" clId="{9D575EB9-A058-45EF-807C-819348210780}" dt="2024-12-06T02:09:59.139" v="1258" actId="1076"/>
          <ac:spMkLst>
            <pc:docMk/>
            <pc:sldMk cId="2125474985" sldId="1384"/>
            <ac:spMk id="3" creationId="{9357A637-E8F4-70A3-9C37-F21A50F96430}"/>
          </ac:spMkLst>
        </pc:spChg>
        <pc:spChg chg="add mod">
          <ac:chgData name="benjamin andres ramirez espinoza" userId="41c815bc43c478c3" providerId="LiveId" clId="{9D575EB9-A058-45EF-807C-819348210780}" dt="2024-12-06T02:09:44.275" v="1256" actId="1076"/>
          <ac:spMkLst>
            <pc:docMk/>
            <pc:sldMk cId="2125474985" sldId="1384"/>
            <ac:spMk id="4" creationId="{B58D12E1-1624-A361-90C2-780B12573FCD}"/>
          </ac:spMkLst>
        </pc:spChg>
        <pc:spChg chg="add mod">
          <ac:chgData name="benjamin andres ramirez espinoza" userId="41c815bc43c478c3" providerId="LiveId" clId="{9D575EB9-A058-45EF-807C-819348210780}" dt="2024-12-05T21:05:40.120" v="148"/>
          <ac:spMkLst>
            <pc:docMk/>
            <pc:sldMk cId="2125474985" sldId="1384"/>
            <ac:spMk id="4" creationId="{E012E222-B883-8587-0799-7188D128B913}"/>
          </ac:spMkLst>
        </pc:spChg>
        <pc:spChg chg="add del mod">
          <ac:chgData name="benjamin andres ramirez espinoza" userId="41c815bc43c478c3" providerId="LiveId" clId="{9D575EB9-A058-45EF-807C-819348210780}" dt="2024-12-06T00:40:26.310" v="771" actId="478"/>
          <ac:spMkLst>
            <pc:docMk/>
            <pc:sldMk cId="2125474985" sldId="1384"/>
            <ac:spMk id="5" creationId="{0B70DF9F-250E-7A1D-CCF8-C235B93DF202}"/>
          </ac:spMkLst>
        </pc:spChg>
        <pc:spChg chg="add mod">
          <ac:chgData name="benjamin andres ramirez espinoza" userId="41c815bc43c478c3" providerId="LiveId" clId="{9D575EB9-A058-45EF-807C-819348210780}" dt="2024-12-05T21:05:45.520" v="149"/>
          <ac:spMkLst>
            <pc:docMk/>
            <pc:sldMk cId="2125474985" sldId="1384"/>
            <ac:spMk id="5" creationId="{38D272FE-6AA4-E626-28D4-F7FFE2720FAC}"/>
          </ac:spMkLst>
        </pc:spChg>
        <pc:spChg chg="add del mod">
          <ac:chgData name="benjamin andres ramirez espinoza" userId="41c815bc43c478c3" providerId="LiveId" clId="{9D575EB9-A058-45EF-807C-819348210780}" dt="2024-12-06T00:40:26.310" v="771" actId="478"/>
          <ac:spMkLst>
            <pc:docMk/>
            <pc:sldMk cId="2125474985" sldId="1384"/>
            <ac:spMk id="6" creationId="{D12F95C4-BB2C-2D32-4214-91E11AEAFD71}"/>
          </ac:spMkLst>
        </pc:spChg>
        <pc:spChg chg="add del mod">
          <ac:chgData name="benjamin andres ramirez espinoza" userId="41c815bc43c478c3" providerId="LiveId" clId="{9D575EB9-A058-45EF-807C-819348210780}" dt="2024-12-06T00:39:47.803" v="770" actId="22"/>
          <ac:spMkLst>
            <pc:docMk/>
            <pc:sldMk cId="2125474985" sldId="1384"/>
            <ac:spMk id="8" creationId="{8F2535C3-D678-8196-A6FD-A33C616FAA71}"/>
          </ac:spMkLst>
        </pc:spChg>
        <pc:spChg chg="add mod">
          <ac:chgData name="benjamin andres ramirez espinoza" userId="41c815bc43c478c3" providerId="LiveId" clId="{9D575EB9-A058-45EF-807C-819348210780}" dt="2024-12-06T02:00:52.410" v="1145" actId="12788"/>
          <ac:spMkLst>
            <pc:docMk/>
            <pc:sldMk cId="2125474985" sldId="1384"/>
            <ac:spMk id="18" creationId="{F84E14E0-73D9-93F7-4187-2BC417B19195}"/>
          </ac:spMkLst>
        </pc:spChg>
        <pc:spChg chg="add mod">
          <ac:chgData name="benjamin andres ramirez espinoza" userId="41c815bc43c478c3" providerId="LiveId" clId="{9D575EB9-A058-45EF-807C-819348210780}" dt="2024-12-06T02:05:49.478" v="1223" actId="12788"/>
          <ac:spMkLst>
            <pc:docMk/>
            <pc:sldMk cId="2125474985" sldId="1384"/>
            <ac:spMk id="34" creationId="{BA92C26B-77B9-D3DD-B859-80E4DFB9199A}"/>
          </ac:spMkLst>
        </pc:spChg>
        <pc:spChg chg="add mod">
          <ac:chgData name="benjamin andres ramirez espinoza" userId="41c815bc43c478c3" providerId="LiveId" clId="{9D575EB9-A058-45EF-807C-819348210780}" dt="2024-12-06T02:02:44.756" v="1180" actId="207"/>
          <ac:spMkLst>
            <pc:docMk/>
            <pc:sldMk cId="2125474985" sldId="1384"/>
            <ac:spMk id="36" creationId="{4A73440D-EFC7-3E0C-12FD-FD04E193B5E1}"/>
          </ac:spMkLst>
        </pc:spChg>
        <pc:spChg chg="add mod">
          <ac:chgData name="benjamin andres ramirez espinoza" userId="41c815bc43c478c3" providerId="LiveId" clId="{9D575EB9-A058-45EF-807C-819348210780}" dt="2024-12-06T02:09:44.275" v="1256" actId="1076"/>
          <ac:spMkLst>
            <pc:docMk/>
            <pc:sldMk cId="2125474985" sldId="1384"/>
            <ac:spMk id="38" creationId="{9C56049E-63AB-D675-D99A-CF3077C1474A}"/>
          </ac:spMkLst>
        </pc:spChg>
        <pc:spChg chg="add del">
          <ac:chgData name="benjamin andres ramirez espinoza" userId="41c815bc43c478c3" providerId="LiveId" clId="{9D575EB9-A058-45EF-807C-819348210780}" dt="2024-12-06T02:02:56.184" v="1182" actId="11529"/>
          <ac:spMkLst>
            <pc:docMk/>
            <pc:sldMk cId="2125474985" sldId="1384"/>
            <ac:spMk id="43" creationId="{E87B07BA-77BB-0813-5C21-1C9E80ECC461}"/>
          </ac:spMkLst>
        </pc:spChg>
        <pc:spChg chg="add del mod">
          <ac:chgData name="benjamin andres ramirez espinoza" userId="41c815bc43c478c3" providerId="LiveId" clId="{9D575EB9-A058-45EF-807C-819348210780}" dt="2024-12-06T02:03:48.118" v="1198" actId="478"/>
          <ac:spMkLst>
            <pc:docMk/>
            <pc:sldMk cId="2125474985" sldId="1384"/>
            <ac:spMk id="44" creationId="{4C87E91F-5EE0-CBCF-363B-207AD075C714}"/>
          </ac:spMkLst>
        </pc:spChg>
        <pc:spChg chg="add mod ord">
          <ac:chgData name="benjamin andres ramirez espinoza" userId="41c815bc43c478c3" providerId="LiveId" clId="{9D575EB9-A058-45EF-807C-819348210780}" dt="2024-12-06T02:08:50.037" v="1252" actId="465"/>
          <ac:spMkLst>
            <pc:docMk/>
            <pc:sldMk cId="2125474985" sldId="1384"/>
            <ac:spMk id="45" creationId="{C7BA41B8-1FE3-7D83-4F6C-10964604C814}"/>
          </ac:spMkLst>
        </pc:spChg>
        <pc:spChg chg="add mod ord">
          <ac:chgData name="benjamin andres ramirez espinoza" userId="41c815bc43c478c3" providerId="LiveId" clId="{9D575EB9-A058-45EF-807C-819348210780}" dt="2024-12-06T02:08:50.037" v="1252" actId="465"/>
          <ac:spMkLst>
            <pc:docMk/>
            <pc:sldMk cId="2125474985" sldId="1384"/>
            <ac:spMk id="47" creationId="{66C40E33-CC79-4A19-6129-EC0C1BBC36ED}"/>
          </ac:spMkLst>
        </pc:spChg>
        <pc:spChg chg="add mod ord">
          <ac:chgData name="benjamin andres ramirez espinoza" userId="41c815bc43c478c3" providerId="LiveId" clId="{9D575EB9-A058-45EF-807C-819348210780}" dt="2024-12-06T02:08:47.315" v="1251" actId="12788"/>
          <ac:spMkLst>
            <pc:docMk/>
            <pc:sldMk cId="2125474985" sldId="1384"/>
            <ac:spMk id="50" creationId="{0DF99AF0-3497-7A0F-B45D-51D2E9D84EAC}"/>
          </ac:spMkLst>
        </pc:spChg>
        <pc:spChg chg="add mod ord">
          <ac:chgData name="benjamin andres ramirez espinoza" userId="41c815bc43c478c3" providerId="LiveId" clId="{9D575EB9-A058-45EF-807C-819348210780}" dt="2024-12-06T02:09:44.275" v="1256" actId="1076"/>
          <ac:spMkLst>
            <pc:docMk/>
            <pc:sldMk cId="2125474985" sldId="1384"/>
            <ac:spMk id="52" creationId="{8A1A823A-335E-3E1D-725A-7114C68E1D74}"/>
          </ac:spMkLst>
        </pc:spChg>
        <pc:spChg chg="add mod ord">
          <ac:chgData name="benjamin andres ramirez espinoza" userId="41c815bc43c478c3" providerId="LiveId" clId="{9D575EB9-A058-45EF-807C-819348210780}" dt="2024-12-06T02:09:47.920" v="1257" actId="1076"/>
          <ac:spMkLst>
            <pc:docMk/>
            <pc:sldMk cId="2125474985" sldId="1384"/>
            <ac:spMk id="54" creationId="{B4886EDA-0331-835C-CB1E-A1F45B285F6E}"/>
          </ac:spMkLst>
        </pc:spChg>
        <pc:picChg chg="add mod">
          <ac:chgData name="benjamin andres ramirez espinoza" userId="41c815bc43c478c3" providerId="LiveId" clId="{9D575EB9-A058-45EF-807C-819348210780}" dt="2024-12-06T02:09:05.641" v="1254" actId="465"/>
          <ac:picMkLst>
            <pc:docMk/>
            <pc:sldMk cId="2125474985" sldId="1384"/>
            <ac:picMk id="6" creationId="{AF6D5CCF-2E04-2C99-30B7-A108D05AE497}"/>
          </ac:picMkLst>
        </pc:picChg>
        <pc:picChg chg="add mod">
          <ac:chgData name="benjamin andres ramirez espinoza" userId="41c815bc43c478c3" providerId="LiveId" clId="{9D575EB9-A058-45EF-807C-819348210780}" dt="2024-12-06T02:09:05.641" v="1254" actId="465"/>
          <ac:picMkLst>
            <pc:docMk/>
            <pc:sldMk cId="2125474985" sldId="1384"/>
            <ac:picMk id="8" creationId="{5E05F235-F764-1045-206B-A2E1E4FBBB19}"/>
          </ac:picMkLst>
        </pc:picChg>
        <pc:picChg chg="add mod">
          <ac:chgData name="benjamin andres ramirez espinoza" userId="41c815bc43c478c3" providerId="LiveId" clId="{9D575EB9-A058-45EF-807C-819348210780}" dt="2024-12-06T02:09:05.641" v="1254" actId="465"/>
          <ac:picMkLst>
            <pc:docMk/>
            <pc:sldMk cId="2125474985" sldId="1384"/>
            <ac:picMk id="10" creationId="{F0AF25D8-B2A7-9A36-84F7-0EAD27CDDDBD}"/>
          </ac:picMkLst>
        </pc:picChg>
        <pc:picChg chg="add del mod">
          <ac:chgData name="benjamin andres ramirez espinoza" userId="41c815bc43c478c3" providerId="LiveId" clId="{9D575EB9-A058-45EF-807C-819348210780}" dt="2024-12-06T01:34:01.845" v="1032" actId="478"/>
          <ac:picMkLst>
            <pc:docMk/>
            <pc:sldMk cId="2125474985" sldId="1384"/>
            <ac:picMk id="12" creationId="{4CAC890B-F267-AA2D-C9D2-062FAB5EF0AB}"/>
          </ac:picMkLst>
        </pc:picChg>
        <pc:picChg chg="add mod">
          <ac:chgData name="benjamin andres ramirez espinoza" userId="41c815bc43c478c3" providerId="LiveId" clId="{9D575EB9-A058-45EF-807C-819348210780}" dt="2024-12-06T02:09:44.275" v="1256" actId="1076"/>
          <ac:picMkLst>
            <pc:docMk/>
            <pc:sldMk cId="2125474985" sldId="1384"/>
            <ac:picMk id="14" creationId="{7A4FA696-44F0-8694-C710-40CA930F8385}"/>
          </ac:picMkLst>
        </pc:picChg>
        <pc:picChg chg="add mod">
          <ac:chgData name="benjamin andres ramirez espinoza" userId="41c815bc43c478c3" providerId="LiveId" clId="{9D575EB9-A058-45EF-807C-819348210780}" dt="2024-12-06T02:09:47.920" v="1257" actId="1076"/>
          <ac:picMkLst>
            <pc:docMk/>
            <pc:sldMk cId="2125474985" sldId="1384"/>
            <ac:picMk id="16" creationId="{B5078A6F-C6B1-F8B3-23E3-71593080A4C1}"/>
          </ac:picMkLst>
        </pc:picChg>
        <pc:inkChg chg="add del">
          <ac:chgData name="benjamin andres ramirez espinoza" userId="41c815bc43c478c3" providerId="LiveId" clId="{9D575EB9-A058-45EF-807C-819348210780}" dt="2024-12-06T00:40:36.582" v="773" actId="9405"/>
          <ac:inkMkLst>
            <pc:docMk/>
            <pc:sldMk cId="2125474985" sldId="1384"/>
            <ac:inkMk id="9" creationId="{E65D11CF-32FD-6814-C6AC-741864FFF070}"/>
          </ac:inkMkLst>
        </pc:inkChg>
        <pc:inkChg chg="add del">
          <ac:chgData name="benjamin andres ramirez espinoza" userId="41c815bc43c478c3" providerId="LiveId" clId="{9D575EB9-A058-45EF-807C-819348210780}" dt="2024-12-06T00:41:18.291" v="775" actId="9405"/>
          <ac:inkMkLst>
            <pc:docMk/>
            <pc:sldMk cId="2125474985" sldId="1384"/>
            <ac:inkMk id="10" creationId="{F32045D5-1B3E-07B8-C09A-2A9878A3E5BA}"/>
          </ac:inkMkLst>
        </pc:inkChg>
        <pc:cxnChg chg="add mod">
          <ac:chgData name="benjamin andres ramirez espinoza" userId="41c815bc43c478c3" providerId="LiveId" clId="{9D575EB9-A058-45EF-807C-819348210780}" dt="2024-12-06T02:08:50.037" v="1252" actId="465"/>
          <ac:cxnSpMkLst>
            <pc:docMk/>
            <pc:sldMk cId="2125474985" sldId="1384"/>
            <ac:cxnSpMk id="20" creationId="{30FD1FEB-B4C1-6418-F368-34BCC3A5BB80}"/>
          </ac:cxnSpMkLst>
        </pc:cxnChg>
        <pc:cxnChg chg="add mod">
          <ac:chgData name="benjamin andres ramirez espinoza" userId="41c815bc43c478c3" providerId="LiveId" clId="{9D575EB9-A058-45EF-807C-819348210780}" dt="2024-12-06T02:08:50.037" v="1252" actId="465"/>
          <ac:cxnSpMkLst>
            <pc:docMk/>
            <pc:sldMk cId="2125474985" sldId="1384"/>
            <ac:cxnSpMk id="39" creationId="{3D66A476-E7D3-1660-EF96-F85A597810D8}"/>
          </ac:cxnSpMkLst>
        </pc:cxnChg>
        <pc:cxnChg chg="add mod">
          <ac:chgData name="benjamin andres ramirez espinoza" userId="41c815bc43c478c3" providerId="LiveId" clId="{9D575EB9-A058-45EF-807C-819348210780}" dt="2024-12-06T02:08:47.315" v="1251" actId="12788"/>
          <ac:cxnSpMkLst>
            <pc:docMk/>
            <pc:sldMk cId="2125474985" sldId="1384"/>
            <ac:cxnSpMk id="40" creationId="{CA2D450F-6710-7D44-CAC8-E6DC0AE469D5}"/>
          </ac:cxnSpMkLst>
        </pc:cxnChg>
        <pc:cxnChg chg="add mod">
          <ac:chgData name="benjamin andres ramirez espinoza" userId="41c815bc43c478c3" providerId="LiveId" clId="{9D575EB9-A058-45EF-807C-819348210780}" dt="2024-12-06T02:09:44.275" v="1256" actId="1076"/>
          <ac:cxnSpMkLst>
            <pc:docMk/>
            <pc:sldMk cId="2125474985" sldId="1384"/>
            <ac:cxnSpMk id="41" creationId="{E597BCBE-B05A-68D4-DF04-793B1BB7AED9}"/>
          </ac:cxnSpMkLst>
        </pc:cxnChg>
        <pc:cxnChg chg="add mod">
          <ac:chgData name="benjamin andres ramirez espinoza" userId="41c815bc43c478c3" providerId="LiveId" clId="{9D575EB9-A058-45EF-807C-819348210780}" dt="2024-12-06T02:09:47.920" v="1257" actId="1076"/>
          <ac:cxnSpMkLst>
            <pc:docMk/>
            <pc:sldMk cId="2125474985" sldId="1384"/>
            <ac:cxnSpMk id="42" creationId="{7FD296F7-634F-388E-8DF6-C4429B2B70F9}"/>
          </ac:cxnSpMkLst>
        </pc:cxnChg>
      </pc:sldChg>
      <pc:sldChg chg="del">
        <pc:chgData name="benjamin andres ramirez espinoza" userId="41c815bc43c478c3" providerId="LiveId" clId="{9D575EB9-A058-45EF-807C-819348210780}" dt="2024-12-05T20:33:50.808" v="1" actId="47"/>
        <pc:sldMkLst>
          <pc:docMk/>
          <pc:sldMk cId="2339524988" sldId="1385"/>
        </pc:sldMkLst>
      </pc:sldChg>
      <pc:sldChg chg="addSp delSp modSp add mod ord">
        <pc:chgData name="benjamin andres ramirez espinoza" userId="41c815bc43c478c3" providerId="LiveId" clId="{9D575EB9-A058-45EF-807C-819348210780}" dt="2024-12-06T01:05:01.291" v="850" actId="20577"/>
        <pc:sldMkLst>
          <pc:docMk/>
          <pc:sldMk cId="2703786159" sldId="1385"/>
        </pc:sldMkLst>
        <pc:spChg chg="mod">
          <ac:chgData name="benjamin andres ramirez espinoza" userId="41c815bc43c478c3" providerId="LiveId" clId="{9D575EB9-A058-45EF-807C-819348210780}" dt="2024-12-05T21:11:07.153" v="346" actId="1076"/>
          <ac:spMkLst>
            <pc:docMk/>
            <pc:sldMk cId="2703786159" sldId="1385"/>
            <ac:spMk id="3" creationId="{D57720EE-2B6F-013A-FEFF-3E147208BA90}"/>
          </ac:spMkLst>
        </pc:spChg>
        <pc:spChg chg="add del mod">
          <ac:chgData name="benjamin andres ramirez espinoza" userId="41c815bc43c478c3" providerId="LiveId" clId="{9D575EB9-A058-45EF-807C-819348210780}" dt="2024-12-05T21:05:35.144" v="147" actId="478"/>
          <ac:spMkLst>
            <pc:docMk/>
            <pc:sldMk cId="2703786159" sldId="1385"/>
            <ac:spMk id="4" creationId="{6F897B4A-DD39-8370-E3E6-242ED22840B4}"/>
          </ac:spMkLst>
        </pc:spChg>
        <pc:spChg chg="add del mod">
          <ac:chgData name="benjamin andres ramirez espinoza" userId="41c815bc43c478c3" providerId="LiveId" clId="{9D575EB9-A058-45EF-807C-819348210780}" dt="2024-12-05T21:12:11.830" v="363" actId="478"/>
          <ac:spMkLst>
            <pc:docMk/>
            <pc:sldMk cId="2703786159" sldId="1385"/>
            <ac:spMk id="5" creationId="{6C724F05-21CE-91D2-B6F8-25C42EAEE04D}"/>
          </ac:spMkLst>
        </pc:spChg>
        <pc:spChg chg="add del mod">
          <ac:chgData name="benjamin andres ramirez espinoza" userId="41c815bc43c478c3" providerId="LiveId" clId="{9D575EB9-A058-45EF-807C-819348210780}" dt="2024-12-06T00:59:33.139" v="821" actId="478"/>
          <ac:spMkLst>
            <pc:docMk/>
            <pc:sldMk cId="2703786159" sldId="1385"/>
            <ac:spMk id="5" creationId="{72B93C71-BC9C-EE36-E026-CBA619EFCA7D}"/>
          </ac:spMkLst>
        </pc:spChg>
        <pc:spChg chg="add mod topLvl">
          <ac:chgData name="benjamin andres ramirez espinoza" userId="41c815bc43c478c3" providerId="LiveId" clId="{9D575EB9-A058-45EF-807C-819348210780}" dt="2024-12-06T00:57:54.447" v="792" actId="478"/>
          <ac:spMkLst>
            <pc:docMk/>
            <pc:sldMk cId="2703786159" sldId="1385"/>
            <ac:spMk id="6" creationId="{87DDD80C-F01B-4503-4E8F-3DC6E1AEA2A7}"/>
          </ac:spMkLst>
        </pc:spChg>
        <pc:spChg chg="add mod topLvl">
          <ac:chgData name="benjamin andres ramirez espinoza" userId="41c815bc43c478c3" providerId="LiveId" clId="{9D575EB9-A058-45EF-807C-819348210780}" dt="2024-12-06T00:58:13.213" v="794" actId="478"/>
          <ac:spMkLst>
            <pc:docMk/>
            <pc:sldMk cId="2703786159" sldId="1385"/>
            <ac:spMk id="7" creationId="{E4AE3642-5634-0662-16C3-17AE7158410E}"/>
          </ac:spMkLst>
        </pc:spChg>
        <pc:spChg chg="add mod">
          <ac:chgData name="benjamin andres ramirez espinoza" userId="41c815bc43c478c3" providerId="LiveId" clId="{9D575EB9-A058-45EF-807C-819348210780}" dt="2024-12-05T21:11:16.180" v="348" actId="164"/>
          <ac:spMkLst>
            <pc:docMk/>
            <pc:sldMk cId="2703786159" sldId="1385"/>
            <ac:spMk id="8" creationId="{EB1DD3D9-66B2-FB98-01B4-1E95008DDEC9}"/>
          </ac:spMkLst>
        </pc:spChg>
        <pc:spChg chg="add mod">
          <ac:chgData name="benjamin andres ramirez espinoza" userId="41c815bc43c478c3" providerId="LiveId" clId="{9D575EB9-A058-45EF-807C-819348210780}" dt="2024-12-06T00:59:31.156" v="820" actId="1076"/>
          <ac:spMkLst>
            <pc:docMk/>
            <pc:sldMk cId="2703786159" sldId="1385"/>
            <ac:spMk id="9" creationId="{5D38A7D3-599A-80EE-62ED-F3DD56A83F41}"/>
          </ac:spMkLst>
        </pc:spChg>
        <pc:spChg chg="add del mod">
          <ac:chgData name="benjamin andres ramirez espinoza" userId="41c815bc43c478c3" providerId="LiveId" clId="{9D575EB9-A058-45EF-807C-819348210780}" dt="2024-12-05T21:09:56.634" v="281" actId="478"/>
          <ac:spMkLst>
            <pc:docMk/>
            <pc:sldMk cId="2703786159" sldId="1385"/>
            <ac:spMk id="9" creationId="{88BF1656-4214-61E9-2CDC-8D9A433D1030}"/>
          </ac:spMkLst>
        </pc:spChg>
        <pc:spChg chg="add del mod topLvl">
          <ac:chgData name="benjamin andres ramirez espinoza" userId="41c815bc43c478c3" providerId="LiveId" clId="{9D575EB9-A058-45EF-807C-819348210780}" dt="2024-12-06T00:57:54.447" v="792" actId="478"/>
          <ac:spMkLst>
            <pc:docMk/>
            <pc:sldMk cId="2703786159" sldId="1385"/>
            <ac:spMk id="10" creationId="{AAD188D3-951A-9EA2-E681-6231642E89C1}"/>
          </ac:spMkLst>
        </pc:spChg>
        <pc:spChg chg="add del mod topLvl">
          <ac:chgData name="benjamin andres ramirez espinoza" userId="41c815bc43c478c3" providerId="LiveId" clId="{9D575EB9-A058-45EF-807C-819348210780}" dt="2024-12-06T00:58:13.213" v="794" actId="478"/>
          <ac:spMkLst>
            <pc:docMk/>
            <pc:sldMk cId="2703786159" sldId="1385"/>
            <ac:spMk id="11" creationId="{AC40FA1C-2F2A-5D65-84D6-AEEE0CC9DA1F}"/>
          </ac:spMkLst>
        </pc:spChg>
        <pc:spChg chg="add mod">
          <ac:chgData name="benjamin andres ramirez espinoza" userId="41c815bc43c478c3" providerId="LiveId" clId="{9D575EB9-A058-45EF-807C-819348210780}" dt="2024-12-06T00:58:31.809" v="795" actId="1076"/>
          <ac:spMkLst>
            <pc:docMk/>
            <pc:sldMk cId="2703786159" sldId="1385"/>
            <ac:spMk id="12" creationId="{A55A2A5C-1C88-FF39-298D-457B8372DB73}"/>
          </ac:spMkLst>
        </pc:spChg>
        <pc:spChg chg="add mod">
          <ac:chgData name="benjamin andres ramirez espinoza" userId="41c815bc43c478c3" providerId="LiveId" clId="{9D575EB9-A058-45EF-807C-819348210780}" dt="2024-12-05T21:31:17.030" v="372" actId="1076"/>
          <ac:spMkLst>
            <pc:docMk/>
            <pc:sldMk cId="2703786159" sldId="1385"/>
            <ac:spMk id="16" creationId="{72D9BAF4-0C9D-8D89-B184-ACB4B10D828F}"/>
          </ac:spMkLst>
        </pc:spChg>
        <pc:spChg chg="add mod">
          <ac:chgData name="benjamin andres ramirez espinoza" userId="41c815bc43c478c3" providerId="LiveId" clId="{9D575EB9-A058-45EF-807C-819348210780}" dt="2024-12-05T21:31:21.578" v="373" actId="1076"/>
          <ac:spMkLst>
            <pc:docMk/>
            <pc:sldMk cId="2703786159" sldId="1385"/>
            <ac:spMk id="17" creationId="{9854B04B-1100-7BB6-8582-0361C74CDA94}"/>
          </ac:spMkLst>
        </pc:spChg>
        <pc:spChg chg="add mod">
          <ac:chgData name="benjamin andres ramirez espinoza" userId="41c815bc43c478c3" providerId="LiveId" clId="{9D575EB9-A058-45EF-807C-819348210780}" dt="2024-12-06T01:05:01.291" v="850" actId="20577"/>
          <ac:spMkLst>
            <pc:docMk/>
            <pc:sldMk cId="2703786159" sldId="1385"/>
            <ac:spMk id="18" creationId="{1993F7ED-E1C7-3DB4-D848-5B57408B9329}"/>
          </ac:spMkLst>
        </pc:spChg>
        <pc:grpChg chg="add del mod">
          <ac:chgData name="benjamin andres ramirez espinoza" userId="41c815bc43c478c3" providerId="LiveId" clId="{9D575EB9-A058-45EF-807C-819348210780}" dt="2024-12-06T00:57:54.447" v="792" actId="478"/>
          <ac:grpSpMkLst>
            <pc:docMk/>
            <pc:sldMk cId="2703786159" sldId="1385"/>
            <ac:grpSpMk id="13" creationId="{57047106-F921-DE5A-4F59-C55FAC36503E}"/>
          </ac:grpSpMkLst>
        </pc:grpChg>
        <pc:grpChg chg="add del mod">
          <ac:chgData name="benjamin andres ramirez espinoza" userId="41c815bc43c478c3" providerId="LiveId" clId="{9D575EB9-A058-45EF-807C-819348210780}" dt="2024-12-06T00:58:13.213" v="794" actId="478"/>
          <ac:grpSpMkLst>
            <pc:docMk/>
            <pc:sldMk cId="2703786159" sldId="1385"/>
            <ac:grpSpMk id="14" creationId="{0BC429A8-1319-0920-B15F-0874161DB33E}"/>
          </ac:grpSpMkLst>
        </pc:grpChg>
        <pc:grpChg chg="add mod">
          <ac:chgData name="benjamin andres ramirez espinoza" userId="41c815bc43c478c3" providerId="LiveId" clId="{9D575EB9-A058-45EF-807C-819348210780}" dt="2024-12-05T21:11:54.357" v="359" actId="1076"/>
          <ac:grpSpMkLst>
            <pc:docMk/>
            <pc:sldMk cId="2703786159" sldId="1385"/>
            <ac:grpSpMk id="15" creationId="{DB18F3DC-8EC6-DAC3-D8A4-5EF57AF13C7E}"/>
          </ac:grpSpMkLst>
        </pc:grpChg>
      </pc:sldChg>
      <pc:sldChg chg="new del">
        <pc:chgData name="benjamin andres ramirez espinoza" userId="41c815bc43c478c3" providerId="LiveId" clId="{9D575EB9-A058-45EF-807C-819348210780}" dt="2024-12-05T21:06:21.414" v="155" actId="680"/>
        <pc:sldMkLst>
          <pc:docMk/>
          <pc:sldMk cId="2035126445" sldId="1386"/>
        </pc:sldMkLst>
      </pc:sldChg>
      <pc:sldChg chg="delSp modSp new mod">
        <pc:chgData name="benjamin andres ramirez espinoza" userId="41c815bc43c478c3" providerId="LiveId" clId="{9D575EB9-A058-45EF-807C-819348210780}" dt="2024-12-06T01:06:54.008" v="933" actId="1076"/>
        <pc:sldMkLst>
          <pc:docMk/>
          <pc:sldMk cId="2626721860" sldId="1386"/>
        </pc:sldMkLst>
        <pc:spChg chg="mod">
          <ac:chgData name="benjamin andres ramirez espinoza" userId="41c815bc43c478c3" providerId="LiveId" clId="{9D575EB9-A058-45EF-807C-819348210780}" dt="2024-12-06T01:06:54.008" v="933" actId="1076"/>
          <ac:spMkLst>
            <pc:docMk/>
            <pc:sldMk cId="2626721860" sldId="1386"/>
            <ac:spMk id="2" creationId="{14BA7E35-B504-7844-C3D1-590AAA8DAF31}"/>
          </ac:spMkLst>
        </pc:spChg>
        <pc:spChg chg="del">
          <ac:chgData name="benjamin andres ramirez espinoza" userId="41c815bc43c478c3" providerId="LiveId" clId="{9D575EB9-A058-45EF-807C-819348210780}" dt="2024-12-06T01:06:48.890" v="932" actId="478"/>
          <ac:spMkLst>
            <pc:docMk/>
            <pc:sldMk cId="2626721860" sldId="1386"/>
            <ac:spMk id="3" creationId="{8ACEE0D7-77C3-9417-D538-D611EF3E2503}"/>
          </ac:spMkLst>
        </pc:spChg>
      </pc:sldChg>
      <pc:sldChg chg="del">
        <pc:chgData name="benjamin andres ramirez espinoza" userId="41c815bc43c478c3" providerId="LiveId" clId="{9D575EB9-A058-45EF-807C-819348210780}" dt="2024-12-05T20:33:48.078" v="0" actId="47"/>
        <pc:sldMkLst>
          <pc:docMk/>
          <pc:sldMk cId="3043211115" sldId="1386"/>
        </pc:sldMkLst>
      </pc:sldChg>
      <pc:sldChg chg="delSp modSp new del mod">
        <pc:chgData name="benjamin andres ramirez espinoza" userId="41c815bc43c478c3" providerId="LiveId" clId="{9D575EB9-A058-45EF-807C-819348210780}" dt="2024-12-06T01:10:37.175" v="938" actId="47"/>
        <pc:sldMkLst>
          <pc:docMk/>
          <pc:sldMk cId="2186216793" sldId="1387"/>
        </pc:sldMkLst>
        <pc:spChg chg="del mod">
          <ac:chgData name="benjamin andres ramirez espinoza" userId="41c815bc43c478c3" providerId="LiveId" clId="{9D575EB9-A058-45EF-807C-819348210780}" dt="2024-12-06T01:10:33.611" v="937" actId="478"/>
          <ac:spMkLst>
            <pc:docMk/>
            <pc:sldMk cId="2186216793" sldId="1387"/>
            <ac:spMk id="2" creationId="{7D48C588-8C4F-DA7F-DAA1-A63D750DC981}"/>
          </ac:spMkLst>
        </pc:spChg>
      </pc:sldChg>
      <pc:sldChg chg="addSp delSp modSp new mod">
        <pc:chgData name="benjamin andres ramirez espinoza" userId="41c815bc43c478c3" providerId="LiveId" clId="{9D575EB9-A058-45EF-807C-819348210780}" dt="2024-12-06T02:14:19.043" v="1330" actId="478"/>
        <pc:sldMkLst>
          <pc:docMk/>
          <pc:sldMk cId="3322949719" sldId="1387"/>
        </pc:sldMkLst>
        <pc:spChg chg="add del mod">
          <ac:chgData name="benjamin andres ramirez espinoza" userId="41c815bc43c478c3" providerId="LiveId" clId="{9D575EB9-A058-45EF-807C-819348210780}" dt="2024-12-06T02:10:13.730" v="1259" actId="478"/>
          <ac:spMkLst>
            <pc:docMk/>
            <pc:sldMk cId="3322949719" sldId="1387"/>
            <ac:spMk id="3" creationId="{B774F0F3-0669-6511-48D2-E76BF0357692}"/>
          </ac:spMkLst>
        </pc:spChg>
        <pc:spChg chg="add mod">
          <ac:chgData name="benjamin andres ramirez espinoza" userId="41c815bc43c478c3" providerId="LiveId" clId="{9D575EB9-A058-45EF-807C-819348210780}" dt="2024-12-06T02:13:34.053" v="1323" actId="14100"/>
          <ac:spMkLst>
            <pc:docMk/>
            <pc:sldMk cId="3322949719" sldId="1387"/>
            <ac:spMk id="6" creationId="{5AEC6AC6-EB49-6FD4-3FD8-0A43307FC17B}"/>
          </ac:spMkLst>
        </pc:spChg>
        <pc:spChg chg="add del">
          <ac:chgData name="benjamin andres ramirez espinoza" userId="41c815bc43c478c3" providerId="LiveId" clId="{9D575EB9-A058-45EF-807C-819348210780}" dt="2024-12-06T02:14:19.043" v="1330" actId="478"/>
          <ac:spMkLst>
            <pc:docMk/>
            <pc:sldMk cId="3322949719" sldId="1387"/>
            <ac:spMk id="7" creationId="{DE356DC5-305D-ED81-F503-32D2A34D5BAC}"/>
          </ac:spMkLst>
        </pc:spChg>
        <pc:spChg chg="add del mod">
          <ac:chgData name="benjamin andres ramirez espinoza" userId="41c815bc43c478c3" providerId="LiveId" clId="{9D575EB9-A058-45EF-807C-819348210780}" dt="2024-12-06T02:14:17.222" v="1329" actId="478"/>
          <ac:spMkLst>
            <pc:docMk/>
            <pc:sldMk cId="3322949719" sldId="1387"/>
            <ac:spMk id="8" creationId="{6D457308-667C-C3C4-CFF0-E17F1D00ADE0}"/>
          </ac:spMkLst>
        </pc:spChg>
        <pc:picChg chg="add mod">
          <ac:chgData name="benjamin andres ramirez espinoza" userId="41c815bc43c478c3" providerId="LiveId" clId="{9D575EB9-A058-45EF-807C-819348210780}" dt="2024-12-06T02:13:31.039" v="1321" actId="208"/>
          <ac:picMkLst>
            <pc:docMk/>
            <pc:sldMk cId="3322949719" sldId="1387"/>
            <ac:picMk id="5" creationId="{D5DC57A7-6ADC-7423-9FD5-3BAEFE66B80D}"/>
          </ac:picMkLst>
        </pc:picChg>
      </pc:sldChg>
      <pc:sldChg chg="addSp modSp new mod">
        <pc:chgData name="benjamin andres ramirez espinoza" userId="41c815bc43c478c3" providerId="LiveId" clId="{9D575EB9-A058-45EF-807C-819348210780}" dt="2024-12-06T02:15:29.269" v="1334" actId="14100"/>
        <pc:sldMkLst>
          <pc:docMk/>
          <pc:sldMk cId="4153140221" sldId="1388"/>
        </pc:sldMkLst>
        <pc:picChg chg="add mod">
          <ac:chgData name="benjamin andres ramirez espinoza" userId="41c815bc43c478c3" providerId="LiveId" clId="{9D575EB9-A058-45EF-807C-819348210780}" dt="2024-12-06T02:15:29.269" v="1334" actId="14100"/>
          <ac:picMkLst>
            <pc:docMk/>
            <pc:sldMk cId="4153140221" sldId="1388"/>
            <ac:picMk id="4" creationId="{A33E9C2A-ED4B-A6EA-1512-02EDB6EF89A8}"/>
          </ac:picMkLst>
        </pc:picChg>
      </pc:sldChg>
      <pc:sldChg chg="addSp modSp new mod">
        <pc:chgData name="benjamin andres ramirez espinoza" userId="41c815bc43c478c3" providerId="LiveId" clId="{9D575EB9-A058-45EF-807C-819348210780}" dt="2024-12-06T02:16:59.405" v="1340" actId="1076"/>
        <pc:sldMkLst>
          <pc:docMk/>
          <pc:sldMk cId="3101143664" sldId="1389"/>
        </pc:sldMkLst>
        <pc:picChg chg="add mod">
          <ac:chgData name="benjamin andres ramirez espinoza" userId="41c815bc43c478c3" providerId="LiveId" clId="{9D575EB9-A058-45EF-807C-819348210780}" dt="2024-12-06T02:16:59.405" v="1340" actId="1076"/>
          <ac:picMkLst>
            <pc:docMk/>
            <pc:sldMk cId="3101143664" sldId="1389"/>
            <ac:picMk id="4" creationId="{9F97F885-C578-E175-7661-6934D862B633}"/>
          </ac:picMkLst>
        </pc:picChg>
        <pc:picChg chg="add mod">
          <ac:chgData name="benjamin andres ramirez espinoza" userId="41c815bc43c478c3" providerId="LiveId" clId="{9D575EB9-A058-45EF-807C-819348210780}" dt="2024-12-06T02:16:57.737" v="1339" actId="1076"/>
          <ac:picMkLst>
            <pc:docMk/>
            <pc:sldMk cId="3101143664" sldId="1389"/>
            <ac:picMk id="6" creationId="{6CE4F0EF-DF6A-213C-2E6B-D05F79847DD4}"/>
          </ac:picMkLst>
        </pc:picChg>
      </pc:sldChg>
      <pc:sldChg chg="addSp delSp modSp new mod">
        <pc:chgData name="benjamin andres ramirez espinoza" userId="41c815bc43c478c3" providerId="LiveId" clId="{9D575EB9-A058-45EF-807C-819348210780}" dt="2024-12-06T02:18:59.171" v="1348" actId="1076"/>
        <pc:sldMkLst>
          <pc:docMk/>
          <pc:sldMk cId="830008969" sldId="1390"/>
        </pc:sldMkLst>
        <pc:picChg chg="add del mod">
          <ac:chgData name="benjamin andres ramirez espinoza" userId="41c815bc43c478c3" providerId="LiveId" clId="{9D575EB9-A058-45EF-807C-819348210780}" dt="2024-12-06T02:18:22.247" v="1344" actId="478"/>
          <ac:picMkLst>
            <pc:docMk/>
            <pc:sldMk cId="830008969" sldId="1390"/>
            <ac:picMk id="4" creationId="{442D24CF-17C3-050B-3478-A38A0DA6620C}"/>
          </ac:picMkLst>
        </pc:picChg>
        <pc:picChg chg="add mod">
          <ac:chgData name="benjamin andres ramirez espinoza" userId="41c815bc43c478c3" providerId="LiveId" clId="{9D575EB9-A058-45EF-807C-819348210780}" dt="2024-12-06T02:18:33.023" v="1346" actId="1076"/>
          <ac:picMkLst>
            <pc:docMk/>
            <pc:sldMk cId="830008969" sldId="1390"/>
            <ac:picMk id="6" creationId="{31AE007F-E4ED-042C-D434-39257385B716}"/>
          </ac:picMkLst>
        </pc:picChg>
        <pc:picChg chg="add mod">
          <ac:chgData name="benjamin andres ramirez espinoza" userId="41c815bc43c478c3" providerId="LiveId" clId="{9D575EB9-A058-45EF-807C-819348210780}" dt="2024-12-06T02:18:59.171" v="1348" actId="1076"/>
          <ac:picMkLst>
            <pc:docMk/>
            <pc:sldMk cId="830008969" sldId="1390"/>
            <ac:picMk id="8" creationId="{487A46DB-942C-8644-8504-B2D6ABA97344}"/>
          </ac:picMkLst>
        </pc:picChg>
      </pc:sldChg>
      <pc:sldChg chg="new del">
        <pc:chgData name="benjamin andres ramirez espinoza" userId="41c815bc43c478c3" providerId="LiveId" clId="{9D575EB9-A058-45EF-807C-819348210780}" dt="2024-12-06T03:38:25.261" v="1388" actId="47"/>
        <pc:sldMkLst>
          <pc:docMk/>
          <pc:sldMk cId="745732698" sldId="1391"/>
        </pc:sldMkLst>
      </pc:sldChg>
      <pc:sldChg chg="new del">
        <pc:chgData name="benjamin andres ramirez espinoza" userId="41c815bc43c478c3" providerId="LiveId" clId="{9D575EB9-A058-45EF-807C-819348210780}" dt="2024-12-06T03:38:34.177" v="1390" actId="47"/>
        <pc:sldMkLst>
          <pc:docMk/>
          <pc:sldMk cId="3714476611" sldId="1392"/>
        </pc:sldMkLst>
      </pc:sldChg>
      <pc:sldChg chg="addSp modSp new mod modAnim">
        <pc:chgData name="benjamin andres ramirez espinoza" userId="41c815bc43c478c3" providerId="LiveId" clId="{9D575EB9-A058-45EF-807C-819348210780}" dt="2024-12-06T03:38:43.370" v="1394" actId="14100"/>
        <pc:sldMkLst>
          <pc:docMk/>
          <pc:sldMk cId="285555027" sldId="1393"/>
        </pc:sldMkLst>
        <pc:picChg chg="add mod">
          <ac:chgData name="benjamin andres ramirez espinoza" userId="41c815bc43c478c3" providerId="LiveId" clId="{9D575EB9-A058-45EF-807C-819348210780}" dt="2024-12-06T03:38:43.370" v="1394" actId="14100"/>
          <ac:picMkLst>
            <pc:docMk/>
            <pc:sldMk cId="285555027" sldId="1393"/>
            <ac:picMk id="3" creationId="{052EBE02-A8F1-1D25-3006-1A9B7FA6330F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C46CF1-E1DA-44B2-A109-5C830654A2A4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d-ID"/>
        </a:p>
      </dgm:t>
    </dgm:pt>
    <dgm:pt modelId="{FAB1D6D9-A37B-4BC3-A146-65F0B24151FF}">
      <dgm:prSet phldrT="[Text]" custT="1"/>
      <dgm:spPr/>
      <dgm:t>
        <a:bodyPr/>
        <a:lstStyle/>
        <a:p>
          <a:r>
            <a:rPr lang="es-MX" sz="1600" dirty="0"/>
            <a:t>Automatización</a:t>
          </a:r>
          <a:endParaRPr lang="id-ID" sz="1500" dirty="0"/>
        </a:p>
      </dgm:t>
    </dgm:pt>
    <dgm:pt modelId="{3217E21F-7638-47C0-A665-95B12D49E007}" type="parTrans" cxnId="{B3E6F50F-CE57-441B-9D5D-61AAFAB19A50}">
      <dgm:prSet/>
      <dgm:spPr/>
      <dgm:t>
        <a:bodyPr/>
        <a:lstStyle/>
        <a:p>
          <a:endParaRPr lang="id-ID"/>
        </a:p>
      </dgm:t>
    </dgm:pt>
    <dgm:pt modelId="{8FC9E093-21B5-4EF9-B318-4579871EE9A5}" type="sibTrans" cxnId="{B3E6F50F-CE57-441B-9D5D-61AAFAB19A50}">
      <dgm:prSet/>
      <dgm:spPr/>
      <dgm:t>
        <a:bodyPr/>
        <a:lstStyle/>
        <a:p>
          <a:endParaRPr lang="id-ID"/>
        </a:p>
      </dgm:t>
    </dgm:pt>
    <dgm:pt modelId="{2ACA3281-6C17-47EC-A861-1FF45A678564}">
      <dgm:prSet phldrT="[Text]" custT="1"/>
      <dgm:spPr>
        <a:solidFill>
          <a:schemeClr val="bg2"/>
        </a:solidFill>
        <a:ln>
          <a:solidFill>
            <a:schemeClr val="accent1">
              <a:lumMod val="25000"/>
              <a:lumOff val="75000"/>
            </a:schemeClr>
          </a:solidFill>
        </a:ln>
      </dgm:spPr>
      <dgm:t>
        <a:bodyPr/>
        <a:lstStyle/>
        <a:p>
          <a:r>
            <a:rPr lang="es-MX" sz="1500" dirty="0"/>
            <a:t>¡</a:t>
          </a:r>
          <a:r>
            <a:rPr lang="es-MX" sz="1600" dirty="0"/>
            <a:t>Detección</a:t>
          </a:r>
          <a:r>
            <a:rPr lang="es-MX" sz="1500" dirty="0"/>
            <a:t>!</a:t>
          </a:r>
          <a:endParaRPr lang="id-ID" sz="1500" dirty="0"/>
        </a:p>
      </dgm:t>
    </dgm:pt>
    <dgm:pt modelId="{A5B1693A-C48F-4467-80A2-1A23027715BB}" type="parTrans" cxnId="{67F6C5B8-FE37-46A9-9792-698DA671FF22}">
      <dgm:prSet/>
      <dgm:spPr/>
      <dgm:t>
        <a:bodyPr/>
        <a:lstStyle/>
        <a:p>
          <a:endParaRPr lang="id-ID"/>
        </a:p>
      </dgm:t>
    </dgm:pt>
    <dgm:pt modelId="{AB56EDD2-4E7C-4F75-81CA-453317A523C0}" type="sibTrans" cxnId="{67F6C5B8-FE37-46A9-9792-698DA671FF22}">
      <dgm:prSet/>
      <dgm:spPr/>
      <dgm:t>
        <a:bodyPr/>
        <a:lstStyle/>
        <a:p>
          <a:endParaRPr lang="id-ID"/>
        </a:p>
      </dgm:t>
    </dgm:pt>
    <dgm:pt modelId="{ED1E80C1-3805-45AE-8C9A-46E4D0AFAAC4}">
      <dgm:prSet phldrT="[Text]" custT="1"/>
      <dgm:spPr/>
      <dgm:t>
        <a:bodyPr/>
        <a:lstStyle/>
        <a:p>
          <a:r>
            <a:rPr lang="es-MX" sz="1600" dirty="0"/>
            <a:t>Scanner</a:t>
          </a:r>
          <a:endParaRPr lang="id-ID" sz="1600" dirty="0"/>
        </a:p>
      </dgm:t>
    </dgm:pt>
    <dgm:pt modelId="{9B52412D-F2B6-423D-A2BF-F8FA4A26F975}" type="sibTrans" cxnId="{048DE9AB-55CD-4B9B-9BBF-C2E5829F72D1}">
      <dgm:prSet/>
      <dgm:spPr/>
      <dgm:t>
        <a:bodyPr/>
        <a:lstStyle/>
        <a:p>
          <a:endParaRPr lang="id-ID"/>
        </a:p>
      </dgm:t>
    </dgm:pt>
    <dgm:pt modelId="{AC12FC74-7832-46EE-B152-47571D795FB1}" type="parTrans" cxnId="{048DE9AB-55CD-4B9B-9BBF-C2E5829F72D1}">
      <dgm:prSet/>
      <dgm:spPr/>
      <dgm:t>
        <a:bodyPr/>
        <a:lstStyle/>
        <a:p>
          <a:endParaRPr lang="id-ID"/>
        </a:p>
      </dgm:t>
    </dgm:pt>
    <dgm:pt modelId="{C7F4BA92-4F17-40A8-A4D0-024A2DB8CCAF}">
      <dgm:prSet phldrT="[Text]" custT="1"/>
      <dgm:spPr/>
      <dgm:t>
        <a:bodyPr/>
        <a:lstStyle/>
        <a:p>
          <a:r>
            <a:rPr lang="es-MX" sz="1600" dirty="0"/>
            <a:t>Ejecución</a:t>
          </a:r>
          <a:r>
            <a:rPr lang="es-MX" sz="1500" dirty="0"/>
            <a:t> </a:t>
          </a:r>
          <a:endParaRPr lang="id-ID" sz="1500" dirty="0"/>
        </a:p>
      </dgm:t>
    </dgm:pt>
    <dgm:pt modelId="{8A31A572-BD9C-46AB-94C7-B8FB9B472681}" type="parTrans" cxnId="{80664F72-1DE0-4D0F-B461-ED6A0C85DA3C}">
      <dgm:prSet/>
      <dgm:spPr/>
      <dgm:t>
        <a:bodyPr/>
        <a:lstStyle/>
        <a:p>
          <a:endParaRPr lang="id-ID"/>
        </a:p>
      </dgm:t>
    </dgm:pt>
    <dgm:pt modelId="{46EF095E-6139-497E-B5A6-716154C1B453}" type="sibTrans" cxnId="{80664F72-1DE0-4D0F-B461-ED6A0C85DA3C}">
      <dgm:prSet/>
      <dgm:spPr/>
      <dgm:t>
        <a:bodyPr/>
        <a:lstStyle/>
        <a:p>
          <a:endParaRPr lang="id-ID"/>
        </a:p>
      </dgm:t>
    </dgm:pt>
    <dgm:pt modelId="{40BFEA4D-60EC-407F-948E-33A6F474AED0}" type="pres">
      <dgm:prSet presAssocID="{50C46CF1-E1DA-44B2-A109-5C830654A2A4}" presName="Name0" presStyleCnt="0">
        <dgm:presLayoutVars>
          <dgm:dir/>
          <dgm:animOne val="branch"/>
          <dgm:animLvl val="lvl"/>
        </dgm:presLayoutVars>
      </dgm:prSet>
      <dgm:spPr/>
    </dgm:pt>
    <dgm:pt modelId="{886AE58F-EC03-4F26-9D93-FCC4139602E4}" type="pres">
      <dgm:prSet presAssocID="{FAB1D6D9-A37B-4BC3-A146-65F0B24151FF}" presName="chaos" presStyleCnt="0"/>
      <dgm:spPr/>
    </dgm:pt>
    <dgm:pt modelId="{437E12D4-5A60-42A2-B29A-3EF7A0B901DC}" type="pres">
      <dgm:prSet presAssocID="{FAB1D6D9-A37B-4BC3-A146-65F0B24151FF}" presName="parTx1" presStyleLbl="revTx" presStyleIdx="0" presStyleCnt="3"/>
      <dgm:spPr/>
    </dgm:pt>
    <dgm:pt modelId="{5DE7AD63-29E0-4588-89ED-4EAB14DD2F73}" type="pres">
      <dgm:prSet presAssocID="{FAB1D6D9-A37B-4BC3-A146-65F0B24151FF}" presName="c1" presStyleLbl="node1" presStyleIdx="0" presStyleCnt="19"/>
      <dgm:spPr>
        <a:solidFill>
          <a:schemeClr val="accent1">
            <a:lumMod val="40000"/>
            <a:lumOff val="60000"/>
          </a:schemeClr>
        </a:solidFill>
      </dgm:spPr>
    </dgm:pt>
    <dgm:pt modelId="{EDA7C6F9-E087-4531-A2B9-5269CA74C7F5}" type="pres">
      <dgm:prSet presAssocID="{FAB1D6D9-A37B-4BC3-A146-65F0B24151FF}" presName="c2" presStyleLbl="node1" presStyleIdx="1" presStyleCnt="19"/>
      <dgm:spPr>
        <a:solidFill>
          <a:schemeClr val="accent1">
            <a:lumMod val="60000"/>
            <a:lumOff val="40000"/>
          </a:schemeClr>
        </a:solidFill>
      </dgm:spPr>
    </dgm:pt>
    <dgm:pt modelId="{FB6E0253-BD08-4563-94B6-750D4A4A780C}" type="pres">
      <dgm:prSet presAssocID="{FAB1D6D9-A37B-4BC3-A146-65F0B24151FF}" presName="c3" presStyleLbl="node1" presStyleIdx="2" presStyleCnt="19"/>
      <dgm:spPr>
        <a:solidFill>
          <a:schemeClr val="accent1">
            <a:lumMod val="40000"/>
            <a:lumOff val="60000"/>
          </a:schemeClr>
        </a:solidFill>
      </dgm:spPr>
    </dgm:pt>
    <dgm:pt modelId="{2FC3CB92-4C72-4ACA-81E7-00D84A9ECAF1}" type="pres">
      <dgm:prSet presAssocID="{FAB1D6D9-A37B-4BC3-A146-65F0B24151FF}" presName="c4" presStyleLbl="node1" presStyleIdx="3" presStyleCnt="19"/>
      <dgm:spPr/>
    </dgm:pt>
    <dgm:pt modelId="{322A8851-9810-40B8-8627-46554CFF6CE3}" type="pres">
      <dgm:prSet presAssocID="{FAB1D6D9-A37B-4BC3-A146-65F0B24151FF}" presName="c5" presStyleLbl="node1" presStyleIdx="4" presStyleCnt="19"/>
      <dgm:spPr>
        <a:solidFill>
          <a:schemeClr val="accent1"/>
        </a:solidFill>
      </dgm:spPr>
    </dgm:pt>
    <dgm:pt modelId="{C0FAA2F0-1256-41FA-AA10-F22A7CBB9306}" type="pres">
      <dgm:prSet presAssocID="{FAB1D6D9-A37B-4BC3-A146-65F0B24151FF}" presName="c6" presStyleLbl="node1" presStyleIdx="5" presStyleCnt="19"/>
      <dgm:spPr/>
    </dgm:pt>
    <dgm:pt modelId="{3EEB2D17-A0A1-4B90-8646-1BFD24921F1C}" type="pres">
      <dgm:prSet presAssocID="{FAB1D6D9-A37B-4BC3-A146-65F0B24151FF}" presName="c7" presStyleLbl="node1" presStyleIdx="6" presStyleCnt="19"/>
      <dgm:spPr>
        <a:solidFill>
          <a:schemeClr val="accent1"/>
        </a:solidFill>
      </dgm:spPr>
    </dgm:pt>
    <dgm:pt modelId="{56425CDD-8FF8-463A-86CF-FECB58FDB32F}" type="pres">
      <dgm:prSet presAssocID="{FAB1D6D9-A37B-4BC3-A146-65F0B24151FF}" presName="c8" presStyleLbl="node1" presStyleIdx="7" presStyleCnt="19"/>
      <dgm:spPr>
        <a:solidFill>
          <a:schemeClr val="accent1">
            <a:lumMod val="40000"/>
            <a:lumOff val="60000"/>
          </a:schemeClr>
        </a:solidFill>
      </dgm:spPr>
    </dgm:pt>
    <dgm:pt modelId="{64C1943A-5AFF-4259-BBF9-774D73946AC5}" type="pres">
      <dgm:prSet presAssocID="{FAB1D6D9-A37B-4BC3-A146-65F0B24151FF}" presName="c9" presStyleLbl="node1" presStyleIdx="8" presStyleCnt="19"/>
      <dgm:spPr>
        <a:solidFill>
          <a:schemeClr val="accent1">
            <a:lumMod val="60000"/>
            <a:lumOff val="40000"/>
          </a:schemeClr>
        </a:solidFill>
      </dgm:spPr>
    </dgm:pt>
    <dgm:pt modelId="{E205E1C0-94FA-4B3B-B0DC-CCDA71560F90}" type="pres">
      <dgm:prSet presAssocID="{FAB1D6D9-A37B-4BC3-A146-65F0B24151FF}" presName="c10" presStyleLbl="node1" presStyleIdx="9" presStyleCnt="19"/>
      <dgm:spPr>
        <a:solidFill>
          <a:schemeClr val="accent1">
            <a:lumMod val="60000"/>
            <a:lumOff val="40000"/>
          </a:schemeClr>
        </a:solidFill>
      </dgm:spPr>
    </dgm:pt>
    <dgm:pt modelId="{09565563-4970-45E5-9CAC-5C2D00A80D46}" type="pres">
      <dgm:prSet presAssocID="{FAB1D6D9-A37B-4BC3-A146-65F0B24151FF}" presName="c11" presStyleLbl="node1" presStyleIdx="10" presStyleCnt="19"/>
      <dgm:spPr/>
    </dgm:pt>
    <dgm:pt modelId="{4037E19A-BF20-44A8-8720-FA3383D7D714}" type="pres">
      <dgm:prSet presAssocID="{FAB1D6D9-A37B-4BC3-A146-65F0B24151FF}" presName="c12" presStyleLbl="node1" presStyleIdx="11" presStyleCnt="19"/>
      <dgm:spPr>
        <a:solidFill>
          <a:schemeClr val="accent1">
            <a:lumMod val="60000"/>
            <a:lumOff val="40000"/>
          </a:schemeClr>
        </a:solidFill>
      </dgm:spPr>
    </dgm:pt>
    <dgm:pt modelId="{AC538666-68D7-442E-B001-A5DE873E5B9C}" type="pres">
      <dgm:prSet presAssocID="{FAB1D6D9-A37B-4BC3-A146-65F0B24151FF}" presName="c13" presStyleLbl="node1" presStyleIdx="12" presStyleCnt="19"/>
      <dgm:spPr>
        <a:solidFill>
          <a:schemeClr val="accent1"/>
        </a:solidFill>
      </dgm:spPr>
    </dgm:pt>
    <dgm:pt modelId="{F3419A38-02AE-422B-A4D6-68DA2B866B73}" type="pres">
      <dgm:prSet presAssocID="{FAB1D6D9-A37B-4BC3-A146-65F0B24151FF}" presName="c14" presStyleLbl="node1" presStyleIdx="13" presStyleCnt="19"/>
      <dgm:spPr/>
    </dgm:pt>
    <dgm:pt modelId="{1DA11625-13D3-45E8-987C-DD7ED5D4F6C2}" type="pres">
      <dgm:prSet presAssocID="{FAB1D6D9-A37B-4BC3-A146-65F0B24151FF}" presName="c15" presStyleLbl="node1" presStyleIdx="14" presStyleCnt="19"/>
      <dgm:spPr>
        <a:solidFill>
          <a:schemeClr val="accent1">
            <a:lumMod val="60000"/>
            <a:lumOff val="40000"/>
          </a:schemeClr>
        </a:solidFill>
      </dgm:spPr>
    </dgm:pt>
    <dgm:pt modelId="{090ADD0A-7968-40AC-A6E3-3B119C37A952}" type="pres">
      <dgm:prSet presAssocID="{FAB1D6D9-A37B-4BC3-A146-65F0B24151FF}" presName="c16" presStyleLbl="node1" presStyleIdx="15" presStyleCnt="19"/>
      <dgm:spPr>
        <a:solidFill>
          <a:schemeClr val="accent1">
            <a:lumMod val="40000"/>
            <a:lumOff val="60000"/>
          </a:schemeClr>
        </a:solidFill>
      </dgm:spPr>
    </dgm:pt>
    <dgm:pt modelId="{5E5544FF-AA31-46AB-879A-2162985B3080}" type="pres">
      <dgm:prSet presAssocID="{FAB1D6D9-A37B-4BC3-A146-65F0B24151FF}" presName="c17" presStyleLbl="node1" presStyleIdx="16" presStyleCnt="19"/>
      <dgm:spPr/>
    </dgm:pt>
    <dgm:pt modelId="{2CFEE905-5A82-4031-AC66-BDCDF1FA1CC8}" type="pres">
      <dgm:prSet presAssocID="{FAB1D6D9-A37B-4BC3-A146-65F0B24151FF}" presName="c18" presStyleLbl="node1" presStyleIdx="17" presStyleCnt="19"/>
      <dgm:spPr>
        <a:solidFill>
          <a:schemeClr val="accent1">
            <a:lumMod val="60000"/>
            <a:lumOff val="40000"/>
          </a:schemeClr>
        </a:solidFill>
      </dgm:spPr>
    </dgm:pt>
    <dgm:pt modelId="{AE52DAED-8535-4418-8679-5BC07013FD7B}" type="pres">
      <dgm:prSet presAssocID="{8FC9E093-21B5-4EF9-B318-4579871EE9A5}" presName="chevronComposite1" presStyleCnt="0"/>
      <dgm:spPr/>
    </dgm:pt>
    <dgm:pt modelId="{165CEECC-18A3-41BB-BA29-901060DEB8DE}" type="pres">
      <dgm:prSet presAssocID="{8FC9E093-21B5-4EF9-B318-4579871EE9A5}" presName="chevron1" presStyleLbl="sibTrans2D1" presStyleIdx="0" presStyleCnt="3" custLinFactNeighborX="23087" custLinFactNeighborY="5739"/>
      <dgm:spPr>
        <a:solidFill>
          <a:schemeClr val="bg2"/>
        </a:solidFill>
      </dgm:spPr>
    </dgm:pt>
    <dgm:pt modelId="{2661FC3D-3006-47A0-AE62-5A90DF1787D3}" type="pres">
      <dgm:prSet presAssocID="{8FC9E093-21B5-4EF9-B318-4579871EE9A5}" presName="spChevron1" presStyleCnt="0"/>
      <dgm:spPr/>
    </dgm:pt>
    <dgm:pt modelId="{64E32A52-3778-41AB-AD41-642DDCCE115E}" type="pres">
      <dgm:prSet presAssocID="{C7F4BA92-4F17-40A8-A4D0-024A2DB8CCAF}" presName="middle" presStyleCnt="0"/>
      <dgm:spPr/>
    </dgm:pt>
    <dgm:pt modelId="{C587F79B-BC7A-4A3A-8100-1B1B038DB88F}" type="pres">
      <dgm:prSet presAssocID="{C7F4BA92-4F17-40A8-A4D0-024A2DB8CCAF}" presName="parTxMid" presStyleLbl="revTx" presStyleIdx="1" presStyleCnt="3"/>
      <dgm:spPr/>
    </dgm:pt>
    <dgm:pt modelId="{66DA0A58-2664-47B9-933A-72B89C060D8F}" type="pres">
      <dgm:prSet presAssocID="{C7F4BA92-4F17-40A8-A4D0-024A2DB8CCAF}" presName="spMid" presStyleCnt="0"/>
      <dgm:spPr/>
    </dgm:pt>
    <dgm:pt modelId="{159DD7CD-2B17-4FB4-89A7-CC4B4AED3DC3}" type="pres">
      <dgm:prSet presAssocID="{46EF095E-6139-497E-B5A6-716154C1B453}" presName="chevronComposite1" presStyleCnt="0"/>
      <dgm:spPr/>
    </dgm:pt>
    <dgm:pt modelId="{7F5BC64C-0183-43B2-B8D3-E6A6A4811D97}" type="pres">
      <dgm:prSet presAssocID="{46EF095E-6139-497E-B5A6-716154C1B453}" presName="chevron1" presStyleLbl="sibTrans2D1" presStyleIdx="1" presStyleCnt="3" custLinFactNeighborX="-40175" custLinFactNeighborY="-1339"/>
      <dgm:spPr>
        <a:solidFill>
          <a:schemeClr val="bg2"/>
        </a:solidFill>
      </dgm:spPr>
    </dgm:pt>
    <dgm:pt modelId="{930E1DF8-9E43-44E0-96F3-F14C83EB39CC}" type="pres">
      <dgm:prSet presAssocID="{46EF095E-6139-497E-B5A6-716154C1B453}" presName="spChevron1" presStyleCnt="0"/>
      <dgm:spPr/>
    </dgm:pt>
    <dgm:pt modelId="{CB013042-7060-4CE4-8D15-356FEC432DD0}" type="pres">
      <dgm:prSet presAssocID="{ED1E80C1-3805-45AE-8C9A-46E4D0AFAAC4}" presName="middle" presStyleCnt="0"/>
      <dgm:spPr/>
    </dgm:pt>
    <dgm:pt modelId="{F1EC1365-A4CA-4258-8491-8A26A2C13A64}" type="pres">
      <dgm:prSet presAssocID="{ED1E80C1-3805-45AE-8C9A-46E4D0AFAAC4}" presName="parTxMid" presStyleLbl="revTx" presStyleIdx="2" presStyleCnt="3" custLinFactNeighborX="-20301" custLinFactNeighborY="3871"/>
      <dgm:spPr/>
    </dgm:pt>
    <dgm:pt modelId="{5FC97295-4DFB-4793-B4B5-E589951B0642}" type="pres">
      <dgm:prSet presAssocID="{ED1E80C1-3805-45AE-8C9A-46E4D0AFAAC4}" presName="spMid" presStyleCnt="0"/>
      <dgm:spPr/>
    </dgm:pt>
    <dgm:pt modelId="{0323354F-0D28-423B-B3DD-77B06800CE14}" type="pres">
      <dgm:prSet presAssocID="{9B52412D-F2B6-423D-A2BF-F8FA4A26F975}" presName="chevronComposite1" presStyleCnt="0"/>
      <dgm:spPr/>
    </dgm:pt>
    <dgm:pt modelId="{10FA0E78-C0F0-4DAC-B403-B1B5CF182E3E}" type="pres">
      <dgm:prSet presAssocID="{9B52412D-F2B6-423D-A2BF-F8FA4A26F975}" presName="chevron1" presStyleLbl="sibTrans2D1" presStyleIdx="2" presStyleCnt="3" custLinFactX="-16481" custLinFactNeighborX="-100000" custLinFactNeighborY="-251"/>
      <dgm:spPr>
        <a:solidFill>
          <a:schemeClr val="bg2"/>
        </a:solidFill>
      </dgm:spPr>
    </dgm:pt>
    <dgm:pt modelId="{186ADED9-8B74-4D2E-BC16-82F8E8CC2394}" type="pres">
      <dgm:prSet presAssocID="{9B52412D-F2B6-423D-A2BF-F8FA4A26F975}" presName="spChevron1" presStyleCnt="0"/>
      <dgm:spPr/>
    </dgm:pt>
    <dgm:pt modelId="{B1C5E0FD-A503-47E4-AD18-42EE2400E62B}" type="pres">
      <dgm:prSet presAssocID="{2ACA3281-6C17-47EC-A861-1FF45A678564}" presName="last" presStyleCnt="0"/>
      <dgm:spPr/>
    </dgm:pt>
    <dgm:pt modelId="{C573218F-5EDE-4F08-BE1C-C26B93BE001E}" type="pres">
      <dgm:prSet presAssocID="{2ACA3281-6C17-47EC-A861-1FF45A678564}" presName="circleTx" presStyleLbl="node1" presStyleIdx="18" presStyleCnt="19" custScaleX="124374" custScaleY="109710" custLinFactNeighborX="-31936" custLinFactNeighborY="-612"/>
      <dgm:spPr/>
    </dgm:pt>
    <dgm:pt modelId="{628A4CE8-DD9A-4674-8400-4A1889E15F04}" type="pres">
      <dgm:prSet presAssocID="{2ACA3281-6C17-47EC-A861-1FF45A678564}" presName="spN" presStyleCnt="0"/>
      <dgm:spPr/>
    </dgm:pt>
  </dgm:ptLst>
  <dgm:cxnLst>
    <dgm:cxn modelId="{B3E6F50F-CE57-441B-9D5D-61AAFAB19A50}" srcId="{50C46CF1-E1DA-44B2-A109-5C830654A2A4}" destId="{FAB1D6D9-A37B-4BC3-A146-65F0B24151FF}" srcOrd="0" destOrd="0" parTransId="{3217E21F-7638-47C0-A665-95B12D49E007}" sibTransId="{8FC9E093-21B5-4EF9-B318-4579871EE9A5}"/>
    <dgm:cxn modelId="{F93CB23A-2758-4732-96FA-EB64115A2AE8}" type="presOf" srcId="{C7F4BA92-4F17-40A8-A4D0-024A2DB8CCAF}" destId="{C587F79B-BC7A-4A3A-8100-1B1B038DB88F}" srcOrd="0" destOrd="0" presId="urn:microsoft.com/office/officeart/2009/3/layout/RandomtoResultProcess"/>
    <dgm:cxn modelId="{234AD060-91EB-4D30-949C-ACB2D5D45CD2}" type="presOf" srcId="{ED1E80C1-3805-45AE-8C9A-46E4D0AFAAC4}" destId="{F1EC1365-A4CA-4258-8491-8A26A2C13A64}" srcOrd="0" destOrd="0" presId="urn:microsoft.com/office/officeart/2009/3/layout/RandomtoResultProcess"/>
    <dgm:cxn modelId="{DBDC3267-AADB-4F8D-B2C0-80E7D6E3E250}" type="presOf" srcId="{2ACA3281-6C17-47EC-A861-1FF45A678564}" destId="{C573218F-5EDE-4F08-BE1C-C26B93BE001E}" srcOrd="0" destOrd="0" presId="urn:microsoft.com/office/officeart/2009/3/layout/RandomtoResultProcess"/>
    <dgm:cxn modelId="{80664F72-1DE0-4D0F-B461-ED6A0C85DA3C}" srcId="{50C46CF1-E1DA-44B2-A109-5C830654A2A4}" destId="{C7F4BA92-4F17-40A8-A4D0-024A2DB8CCAF}" srcOrd="1" destOrd="0" parTransId="{8A31A572-BD9C-46AB-94C7-B8FB9B472681}" sibTransId="{46EF095E-6139-497E-B5A6-716154C1B453}"/>
    <dgm:cxn modelId="{54A86F7F-F02D-42D8-84F4-82C1B61FFB46}" type="presOf" srcId="{FAB1D6D9-A37B-4BC3-A146-65F0B24151FF}" destId="{437E12D4-5A60-42A2-B29A-3EF7A0B901DC}" srcOrd="0" destOrd="0" presId="urn:microsoft.com/office/officeart/2009/3/layout/RandomtoResultProcess"/>
    <dgm:cxn modelId="{048DE9AB-55CD-4B9B-9BBF-C2E5829F72D1}" srcId="{50C46CF1-E1DA-44B2-A109-5C830654A2A4}" destId="{ED1E80C1-3805-45AE-8C9A-46E4D0AFAAC4}" srcOrd="2" destOrd="0" parTransId="{AC12FC74-7832-46EE-B152-47571D795FB1}" sibTransId="{9B52412D-F2B6-423D-A2BF-F8FA4A26F975}"/>
    <dgm:cxn modelId="{67F6C5B8-FE37-46A9-9792-698DA671FF22}" srcId="{50C46CF1-E1DA-44B2-A109-5C830654A2A4}" destId="{2ACA3281-6C17-47EC-A861-1FF45A678564}" srcOrd="3" destOrd="0" parTransId="{A5B1693A-C48F-4467-80A2-1A23027715BB}" sibTransId="{AB56EDD2-4E7C-4F75-81CA-453317A523C0}"/>
    <dgm:cxn modelId="{B6C1BDC8-9B31-431B-AEDF-DA78A910F268}" type="presOf" srcId="{50C46CF1-E1DA-44B2-A109-5C830654A2A4}" destId="{40BFEA4D-60EC-407F-948E-33A6F474AED0}" srcOrd="0" destOrd="0" presId="urn:microsoft.com/office/officeart/2009/3/layout/RandomtoResultProcess"/>
    <dgm:cxn modelId="{8BC4AAE1-1360-4B3E-9F5D-B438E9D3D74C}" type="presParOf" srcId="{40BFEA4D-60EC-407F-948E-33A6F474AED0}" destId="{886AE58F-EC03-4F26-9D93-FCC4139602E4}" srcOrd="0" destOrd="0" presId="urn:microsoft.com/office/officeart/2009/3/layout/RandomtoResultProcess"/>
    <dgm:cxn modelId="{DE0F91BF-47CF-4AF7-B96B-2372FBBCEB31}" type="presParOf" srcId="{886AE58F-EC03-4F26-9D93-FCC4139602E4}" destId="{437E12D4-5A60-42A2-B29A-3EF7A0B901DC}" srcOrd="0" destOrd="0" presId="urn:microsoft.com/office/officeart/2009/3/layout/RandomtoResultProcess"/>
    <dgm:cxn modelId="{034931C7-AD14-4CEE-BC26-1974E953A9F9}" type="presParOf" srcId="{886AE58F-EC03-4F26-9D93-FCC4139602E4}" destId="{5DE7AD63-29E0-4588-89ED-4EAB14DD2F73}" srcOrd="1" destOrd="0" presId="urn:microsoft.com/office/officeart/2009/3/layout/RandomtoResultProcess"/>
    <dgm:cxn modelId="{E19CEF1C-42FC-443B-92F2-848C1B5F8DCB}" type="presParOf" srcId="{886AE58F-EC03-4F26-9D93-FCC4139602E4}" destId="{EDA7C6F9-E087-4531-A2B9-5269CA74C7F5}" srcOrd="2" destOrd="0" presId="urn:microsoft.com/office/officeart/2009/3/layout/RandomtoResultProcess"/>
    <dgm:cxn modelId="{DE708882-F8DE-4B5A-BC14-87353E42726F}" type="presParOf" srcId="{886AE58F-EC03-4F26-9D93-FCC4139602E4}" destId="{FB6E0253-BD08-4563-94B6-750D4A4A780C}" srcOrd="3" destOrd="0" presId="urn:microsoft.com/office/officeart/2009/3/layout/RandomtoResultProcess"/>
    <dgm:cxn modelId="{519EC118-F0A5-4FA8-9E91-28B1B26A597A}" type="presParOf" srcId="{886AE58F-EC03-4F26-9D93-FCC4139602E4}" destId="{2FC3CB92-4C72-4ACA-81E7-00D84A9ECAF1}" srcOrd="4" destOrd="0" presId="urn:microsoft.com/office/officeart/2009/3/layout/RandomtoResultProcess"/>
    <dgm:cxn modelId="{2DE612A5-451B-4513-86C7-87DB0404BCC2}" type="presParOf" srcId="{886AE58F-EC03-4F26-9D93-FCC4139602E4}" destId="{322A8851-9810-40B8-8627-46554CFF6CE3}" srcOrd="5" destOrd="0" presId="urn:microsoft.com/office/officeart/2009/3/layout/RandomtoResultProcess"/>
    <dgm:cxn modelId="{04B6F321-1EB6-49BE-9F55-E2EF3EFB7A93}" type="presParOf" srcId="{886AE58F-EC03-4F26-9D93-FCC4139602E4}" destId="{C0FAA2F0-1256-41FA-AA10-F22A7CBB9306}" srcOrd="6" destOrd="0" presId="urn:microsoft.com/office/officeart/2009/3/layout/RandomtoResultProcess"/>
    <dgm:cxn modelId="{022FD318-24AA-4E91-8D97-2E774F1FA467}" type="presParOf" srcId="{886AE58F-EC03-4F26-9D93-FCC4139602E4}" destId="{3EEB2D17-A0A1-4B90-8646-1BFD24921F1C}" srcOrd="7" destOrd="0" presId="urn:microsoft.com/office/officeart/2009/3/layout/RandomtoResultProcess"/>
    <dgm:cxn modelId="{BF24A18E-6EA6-4E18-A5EA-A8D78DE78929}" type="presParOf" srcId="{886AE58F-EC03-4F26-9D93-FCC4139602E4}" destId="{56425CDD-8FF8-463A-86CF-FECB58FDB32F}" srcOrd="8" destOrd="0" presId="urn:microsoft.com/office/officeart/2009/3/layout/RandomtoResultProcess"/>
    <dgm:cxn modelId="{3F7C1600-9468-4F76-87F4-7DE9A2140027}" type="presParOf" srcId="{886AE58F-EC03-4F26-9D93-FCC4139602E4}" destId="{64C1943A-5AFF-4259-BBF9-774D73946AC5}" srcOrd="9" destOrd="0" presId="urn:microsoft.com/office/officeart/2009/3/layout/RandomtoResultProcess"/>
    <dgm:cxn modelId="{C70FA3D5-B7CF-49C9-B6E1-AC9B253916DF}" type="presParOf" srcId="{886AE58F-EC03-4F26-9D93-FCC4139602E4}" destId="{E205E1C0-94FA-4B3B-B0DC-CCDA71560F90}" srcOrd="10" destOrd="0" presId="urn:microsoft.com/office/officeart/2009/3/layout/RandomtoResultProcess"/>
    <dgm:cxn modelId="{390983CD-2796-42BC-8D25-9A9421D43FDA}" type="presParOf" srcId="{886AE58F-EC03-4F26-9D93-FCC4139602E4}" destId="{09565563-4970-45E5-9CAC-5C2D00A80D46}" srcOrd="11" destOrd="0" presId="urn:microsoft.com/office/officeart/2009/3/layout/RandomtoResultProcess"/>
    <dgm:cxn modelId="{4AB145CE-6D91-4A88-8751-DB4DA63A6142}" type="presParOf" srcId="{886AE58F-EC03-4F26-9D93-FCC4139602E4}" destId="{4037E19A-BF20-44A8-8720-FA3383D7D714}" srcOrd="12" destOrd="0" presId="urn:microsoft.com/office/officeart/2009/3/layout/RandomtoResultProcess"/>
    <dgm:cxn modelId="{4558C3FD-02FC-4CFE-A9E4-5C1C3ECA0AF9}" type="presParOf" srcId="{886AE58F-EC03-4F26-9D93-FCC4139602E4}" destId="{AC538666-68D7-442E-B001-A5DE873E5B9C}" srcOrd="13" destOrd="0" presId="urn:microsoft.com/office/officeart/2009/3/layout/RandomtoResultProcess"/>
    <dgm:cxn modelId="{655601BC-D7E5-4AF6-B7DE-761F414D81C9}" type="presParOf" srcId="{886AE58F-EC03-4F26-9D93-FCC4139602E4}" destId="{F3419A38-02AE-422B-A4D6-68DA2B866B73}" srcOrd="14" destOrd="0" presId="urn:microsoft.com/office/officeart/2009/3/layout/RandomtoResultProcess"/>
    <dgm:cxn modelId="{E67F083E-7BA8-4AC6-B0C1-742C56B15527}" type="presParOf" srcId="{886AE58F-EC03-4F26-9D93-FCC4139602E4}" destId="{1DA11625-13D3-45E8-987C-DD7ED5D4F6C2}" srcOrd="15" destOrd="0" presId="urn:microsoft.com/office/officeart/2009/3/layout/RandomtoResultProcess"/>
    <dgm:cxn modelId="{1650E363-047E-45DA-A6AD-F15BC23143D9}" type="presParOf" srcId="{886AE58F-EC03-4F26-9D93-FCC4139602E4}" destId="{090ADD0A-7968-40AC-A6E3-3B119C37A952}" srcOrd="16" destOrd="0" presId="urn:microsoft.com/office/officeart/2009/3/layout/RandomtoResultProcess"/>
    <dgm:cxn modelId="{7E7C690C-1428-4DE3-8B3E-EC5451236607}" type="presParOf" srcId="{886AE58F-EC03-4F26-9D93-FCC4139602E4}" destId="{5E5544FF-AA31-46AB-879A-2162985B3080}" srcOrd="17" destOrd="0" presId="urn:microsoft.com/office/officeart/2009/3/layout/RandomtoResultProcess"/>
    <dgm:cxn modelId="{16517993-765C-40A4-B571-594AA15B6741}" type="presParOf" srcId="{886AE58F-EC03-4F26-9D93-FCC4139602E4}" destId="{2CFEE905-5A82-4031-AC66-BDCDF1FA1CC8}" srcOrd="18" destOrd="0" presId="urn:microsoft.com/office/officeart/2009/3/layout/RandomtoResultProcess"/>
    <dgm:cxn modelId="{188F1247-5DE2-4AD6-B39F-12A7969C8EF0}" type="presParOf" srcId="{40BFEA4D-60EC-407F-948E-33A6F474AED0}" destId="{AE52DAED-8535-4418-8679-5BC07013FD7B}" srcOrd="1" destOrd="0" presId="urn:microsoft.com/office/officeart/2009/3/layout/RandomtoResultProcess"/>
    <dgm:cxn modelId="{648133D3-E4EB-4528-B609-10E895D632FD}" type="presParOf" srcId="{AE52DAED-8535-4418-8679-5BC07013FD7B}" destId="{165CEECC-18A3-41BB-BA29-901060DEB8DE}" srcOrd="0" destOrd="0" presId="urn:microsoft.com/office/officeart/2009/3/layout/RandomtoResultProcess"/>
    <dgm:cxn modelId="{290C8AF4-08BC-4868-8A66-6E1BB1752F8A}" type="presParOf" srcId="{AE52DAED-8535-4418-8679-5BC07013FD7B}" destId="{2661FC3D-3006-47A0-AE62-5A90DF1787D3}" srcOrd="1" destOrd="0" presId="urn:microsoft.com/office/officeart/2009/3/layout/RandomtoResultProcess"/>
    <dgm:cxn modelId="{A20F7147-4591-49F4-95E4-E549154B2861}" type="presParOf" srcId="{40BFEA4D-60EC-407F-948E-33A6F474AED0}" destId="{64E32A52-3778-41AB-AD41-642DDCCE115E}" srcOrd="2" destOrd="0" presId="urn:microsoft.com/office/officeart/2009/3/layout/RandomtoResultProcess"/>
    <dgm:cxn modelId="{971DC9A8-DB25-4E55-B40E-3B7C50AFBCFD}" type="presParOf" srcId="{64E32A52-3778-41AB-AD41-642DDCCE115E}" destId="{C587F79B-BC7A-4A3A-8100-1B1B038DB88F}" srcOrd="0" destOrd="0" presId="urn:microsoft.com/office/officeart/2009/3/layout/RandomtoResultProcess"/>
    <dgm:cxn modelId="{7EA0BEE1-80E6-4184-A3B4-F3B0C872F8A2}" type="presParOf" srcId="{64E32A52-3778-41AB-AD41-642DDCCE115E}" destId="{66DA0A58-2664-47B9-933A-72B89C060D8F}" srcOrd="1" destOrd="0" presId="urn:microsoft.com/office/officeart/2009/3/layout/RandomtoResultProcess"/>
    <dgm:cxn modelId="{1529DC81-50D1-40BF-B619-A4E1BBAC64C7}" type="presParOf" srcId="{40BFEA4D-60EC-407F-948E-33A6F474AED0}" destId="{159DD7CD-2B17-4FB4-89A7-CC4B4AED3DC3}" srcOrd="3" destOrd="0" presId="urn:microsoft.com/office/officeart/2009/3/layout/RandomtoResultProcess"/>
    <dgm:cxn modelId="{DEFE5F09-069A-48AC-BFAF-3A049D99EC3C}" type="presParOf" srcId="{159DD7CD-2B17-4FB4-89A7-CC4B4AED3DC3}" destId="{7F5BC64C-0183-43B2-B8D3-E6A6A4811D97}" srcOrd="0" destOrd="0" presId="urn:microsoft.com/office/officeart/2009/3/layout/RandomtoResultProcess"/>
    <dgm:cxn modelId="{101B8CB5-190E-4E7C-8BDB-121209C84D58}" type="presParOf" srcId="{159DD7CD-2B17-4FB4-89A7-CC4B4AED3DC3}" destId="{930E1DF8-9E43-44E0-96F3-F14C83EB39CC}" srcOrd="1" destOrd="0" presId="urn:microsoft.com/office/officeart/2009/3/layout/RandomtoResultProcess"/>
    <dgm:cxn modelId="{98A392FA-1B83-45EB-99CE-C2ABA9C1C668}" type="presParOf" srcId="{40BFEA4D-60EC-407F-948E-33A6F474AED0}" destId="{CB013042-7060-4CE4-8D15-356FEC432DD0}" srcOrd="4" destOrd="0" presId="urn:microsoft.com/office/officeart/2009/3/layout/RandomtoResultProcess"/>
    <dgm:cxn modelId="{2115641D-B699-4520-ABD1-E80886E44566}" type="presParOf" srcId="{CB013042-7060-4CE4-8D15-356FEC432DD0}" destId="{F1EC1365-A4CA-4258-8491-8A26A2C13A64}" srcOrd="0" destOrd="0" presId="urn:microsoft.com/office/officeart/2009/3/layout/RandomtoResultProcess"/>
    <dgm:cxn modelId="{1618B9E0-C495-47E9-852F-923FB9BCF8F8}" type="presParOf" srcId="{CB013042-7060-4CE4-8D15-356FEC432DD0}" destId="{5FC97295-4DFB-4793-B4B5-E589951B0642}" srcOrd="1" destOrd="0" presId="urn:microsoft.com/office/officeart/2009/3/layout/RandomtoResultProcess"/>
    <dgm:cxn modelId="{3BD0F964-AF05-452F-981F-A73BB7AB755A}" type="presParOf" srcId="{40BFEA4D-60EC-407F-948E-33A6F474AED0}" destId="{0323354F-0D28-423B-B3DD-77B06800CE14}" srcOrd="5" destOrd="0" presId="urn:microsoft.com/office/officeart/2009/3/layout/RandomtoResultProcess"/>
    <dgm:cxn modelId="{3A17199A-A2E7-46CB-9BF4-4004383F8C3C}" type="presParOf" srcId="{0323354F-0D28-423B-B3DD-77B06800CE14}" destId="{10FA0E78-C0F0-4DAC-B403-B1B5CF182E3E}" srcOrd="0" destOrd="0" presId="urn:microsoft.com/office/officeart/2009/3/layout/RandomtoResultProcess"/>
    <dgm:cxn modelId="{B6632D5E-80B2-4B15-88A7-CFA4CB3BB622}" type="presParOf" srcId="{0323354F-0D28-423B-B3DD-77B06800CE14}" destId="{186ADED9-8B74-4D2E-BC16-82F8E8CC2394}" srcOrd="1" destOrd="0" presId="urn:microsoft.com/office/officeart/2009/3/layout/RandomtoResultProcess"/>
    <dgm:cxn modelId="{61FB0D76-AC51-4DFF-AB89-0009C987ECEE}" type="presParOf" srcId="{40BFEA4D-60EC-407F-948E-33A6F474AED0}" destId="{B1C5E0FD-A503-47E4-AD18-42EE2400E62B}" srcOrd="6" destOrd="0" presId="urn:microsoft.com/office/officeart/2009/3/layout/RandomtoResultProcess"/>
    <dgm:cxn modelId="{66B5CB1C-6223-4887-BDDF-21B8340DB144}" type="presParOf" srcId="{B1C5E0FD-A503-47E4-AD18-42EE2400E62B}" destId="{C573218F-5EDE-4F08-BE1C-C26B93BE001E}" srcOrd="0" destOrd="0" presId="urn:microsoft.com/office/officeart/2009/3/layout/RandomtoResultProcess"/>
    <dgm:cxn modelId="{50874C4F-DB5C-4D86-8BE4-EEA5B2A8C7F1}" type="presParOf" srcId="{B1C5E0FD-A503-47E4-AD18-42EE2400E62B}" destId="{628A4CE8-DD9A-4674-8400-4A1889E15F04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D96D73-13BE-410B-BAE6-101D30D955E1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83514C3-6AE6-4C76-84F8-19170918A4CB}">
      <dgm:prSet custT="1"/>
      <dgm:spPr>
        <a:solidFill>
          <a:srgbClr val="B2ED7C"/>
        </a:solidFill>
      </dgm:spPr>
      <dgm:t>
        <a:bodyPr/>
        <a:lstStyle/>
        <a:p>
          <a:r>
            <a:rPr lang="es-CL" sz="1600" b="0" i="0" baseline="0" dirty="0">
              <a:solidFill>
                <a:schemeClr val="accent3">
                  <a:lumMod val="95000"/>
                  <a:lumOff val="5000"/>
                </a:schemeClr>
              </a:solidFill>
            </a:rPr>
            <a:t>Requisitos</a:t>
          </a:r>
          <a:endParaRPr lang="es-ES" sz="1600" dirty="0">
            <a:solidFill>
              <a:schemeClr val="accent3">
                <a:lumMod val="95000"/>
                <a:lumOff val="5000"/>
              </a:schemeClr>
            </a:solidFill>
          </a:endParaRPr>
        </a:p>
      </dgm:t>
    </dgm:pt>
    <dgm:pt modelId="{972FFBF6-7BA6-4B6A-A929-B1BCF439B7CA}" type="parTrans" cxnId="{E9D9F5A6-D00D-4192-A992-168D4EEAEE6C}">
      <dgm:prSet/>
      <dgm:spPr/>
      <dgm:t>
        <a:bodyPr/>
        <a:lstStyle/>
        <a:p>
          <a:endParaRPr lang="es-CL"/>
        </a:p>
      </dgm:t>
    </dgm:pt>
    <dgm:pt modelId="{43B9D89E-2CFB-4799-AC62-6D56D1DECC96}" type="sibTrans" cxnId="{E9D9F5A6-D00D-4192-A992-168D4EEAEE6C}">
      <dgm:prSet/>
      <dgm:spPr/>
      <dgm:t>
        <a:bodyPr/>
        <a:lstStyle/>
        <a:p>
          <a:endParaRPr lang="es-CL"/>
        </a:p>
      </dgm:t>
    </dgm:pt>
    <dgm:pt modelId="{F61C6A9E-4DA4-4781-9C97-866E22CAC256}">
      <dgm:prSet custT="1"/>
      <dgm:spPr>
        <a:solidFill>
          <a:srgbClr val="B2ED7C"/>
        </a:solidFill>
      </dgm:spPr>
      <dgm:t>
        <a:bodyPr/>
        <a:lstStyle/>
        <a:p>
          <a:r>
            <a:rPr lang="es-ES" sz="1600" dirty="0">
              <a:solidFill>
                <a:schemeClr val="accent3">
                  <a:lumMod val="95000"/>
                  <a:lumOff val="5000"/>
                </a:schemeClr>
              </a:solidFill>
            </a:rPr>
            <a:t>Implementación</a:t>
          </a:r>
        </a:p>
      </dgm:t>
    </dgm:pt>
    <dgm:pt modelId="{7B1685F8-466B-4EF0-8E42-9310FF3BC354}" type="parTrans" cxnId="{64DB7EE6-4D1F-45C1-B2DC-D2C71C78EEC2}">
      <dgm:prSet/>
      <dgm:spPr/>
      <dgm:t>
        <a:bodyPr/>
        <a:lstStyle/>
        <a:p>
          <a:endParaRPr lang="es-CL"/>
        </a:p>
      </dgm:t>
    </dgm:pt>
    <dgm:pt modelId="{3880638B-C8ED-43BB-952B-40E0AF2774CD}" type="sibTrans" cxnId="{64DB7EE6-4D1F-45C1-B2DC-D2C71C78EEC2}">
      <dgm:prSet/>
      <dgm:spPr/>
      <dgm:t>
        <a:bodyPr/>
        <a:lstStyle/>
        <a:p>
          <a:endParaRPr lang="es-CL"/>
        </a:p>
      </dgm:t>
    </dgm:pt>
    <dgm:pt modelId="{AB1A26AC-64AD-4858-941F-684F923AFE0B}">
      <dgm:prSet custT="1"/>
      <dgm:spPr>
        <a:solidFill>
          <a:srgbClr val="B2ED7C"/>
        </a:solidFill>
      </dgm:spPr>
      <dgm:t>
        <a:bodyPr/>
        <a:lstStyle/>
        <a:p>
          <a:r>
            <a:rPr lang="es-ES" sz="1600" dirty="0">
              <a:solidFill>
                <a:schemeClr val="accent3">
                  <a:lumMod val="95000"/>
                  <a:lumOff val="5000"/>
                </a:schemeClr>
              </a:solidFill>
            </a:rPr>
            <a:t>Pruebas</a:t>
          </a:r>
        </a:p>
      </dgm:t>
    </dgm:pt>
    <dgm:pt modelId="{32A35EE1-0FD1-4ED6-B0A9-22FAAA0352EC}" type="parTrans" cxnId="{ECE1EF25-A8D0-4539-9FE3-2F2A6B7680DA}">
      <dgm:prSet/>
      <dgm:spPr/>
      <dgm:t>
        <a:bodyPr/>
        <a:lstStyle/>
        <a:p>
          <a:endParaRPr lang="es-CL"/>
        </a:p>
      </dgm:t>
    </dgm:pt>
    <dgm:pt modelId="{79E47C08-DA18-4C8A-9FEC-20A56874276D}" type="sibTrans" cxnId="{ECE1EF25-A8D0-4539-9FE3-2F2A6B7680DA}">
      <dgm:prSet/>
      <dgm:spPr/>
      <dgm:t>
        <a:bodyPr/>
        <a:lstStyle/>
        <a:p>
          <a:endParaRPr lang="es-CL"/>
        </a:p>
      </dgm:t>
    </dgm:pt>
    <dgm:pt modelId="{990350A8-972F-47FC-B88C-9B755ECCBA2F}">
      <dgm:prSet custT="1"/>
      <dgm:spPr>
        <a:solidFill>
          <a:srgbClr val="B2ED7C"/>
        </a:solidFill>
      </dgm:spPr>
      <dgm:t>
        <a:bodyPr/>
        <a:lstStyle/>
        <a:p>
          <a:r>
            <a:rPr lang="es-ES" sz="1600" b="0" i="0" dirty="0">
              <a:solidFill>
                <a:schemeClr val="accent3">
                  <a:lumMod val="95000"/>
                  <a:lumOff val="5000"/>
                </a:schemeClr>
              </a:solidFill>
            </a:rPr>
            <a:t>Despliegue del Proyecto</a:t>
          </a:r>
        </a:p>
      </dgm:t>
    </dgm:pt>
    <dgm:pt modelId="{96C3E239-CE6E-402F-82EF-6CF6D715929E}" type="parTrans" cxnId="{02DCC2AA-49A5-4064-97E5-9447097969E6}">
      <dgm:prSet/>
      <dgm:spPr/>
      <dgm:t>
        <a:bodyPr/>
        <a:lstStyle/>
        <a:p>
          <a:endParaRPr lang="es-CL"/>
        </a:p>
      </dgm:t>
    </dgm:pt>
    <dgm:pt modelId="{EFE3BFF1-1415-40AC-8DC3-C64DB14FA42F}" type="sibTrans" cxnId="{02DCC2AA-49A5-4064-97E5-9447097969E6}">
      <dgm:prSet/>
      <dgm:spPr/>
      <dgm:t>
        <a:bodyPr/>
        <a:lstStyle/>
        <a:p>
          <a:endParaRPr lang="es-CL"/>
        </a:p>
      </dgm:t>
    </dgm:pt>
    <dgm:pt modelId="{85749093-C8D1-42D9-B3BC-6A7B40DFC82D}">
      <dgm:prSet custT="1"/>
      <dgm:spPr>
        <a:solidFill>
          <a:srgbClr val="B2ED7C"/>
        </a:solidFill>
      </dgm:spPr>
      <dgm:t>
        <a:bodyPr/>
        <a:lstStyle/>
        <a:p>
          <a:r>
            <a:rPr lang="es-ES" sz="1600" dirty="0">
              <a:solidFill>
                <a:schemeClr val="accent3">
                  <a:lumMod val="95000"/>
                  <a:lumOff val="5000"/>
                </a:schemeClr>
              </a:solidFill>
            </a:rPr>
            <a:t>Mantenimiento</a:t>
          </a:r>
        </a:p>
      </dgm:t>
    </dgm:pt>
    <dgm:pt modelId="{2F865537-5F5F-464A-9DCF-D48BE2C6586F}" type="parTrans" cxnId="{B2F48F24-B077-4C22-91A6-C70A67DADE74}">
      <dgm:prSet/>
      <dgm:spPr/>
      <dgm:t>
        <a:bodyPr/>
        <a:lstStyle/>
        <a:p>
          <a:endParaRPr lang="es-CL"/>
        </a:p>
      </dgm:t>
    </dgm:pt>
    <dgm:pt modelId="{602C59F7-A09E-418A-8AD5-0DC436D9EC68}" type="sibTrans" cxnId="{B2F48F24-B077-4C22-91A6-C70A67DADE74}">
      <dgm:prSet/>
      <dgm:spPr/>
      <dgm:t>
        <a:bodyPr/>
        <a:lstStyle/>
        <a:p>
          <a:endParaRPr lang="es-CL"/>
        </a:p>
      </dgm:t>
    </dgm:pt>
    <dgm:pt modelId="{69F6E16D-8EE7-4638-84F1-2E5A774956B9}">
      <dgm:prSet custT="1"/>
      <dgm:spPr>
        <a:solidFill>
          <a:srgbClr val="B2ED7C"/>
        </a:solidFill>
      </dgm:spPr>
      <dgm:t>
        <a:bodyPr/>
        <a:lstStyle/>
        <a:p>
          <a:r>
            <a:rPr lang="es-ES" sz="1600" dirty="0">
              <a:solidFill>
                <a:schemeClr val="accent3">
                  <a:lumMod val="95000"/>
                  <a:lumOff val="5000"/>
                </a:schemeClr>
              </a:solidFill>
            </a:rPr>
            <a:t>Diseño del Sistema</a:t>
          </a:r>
        </a:p>
      </dgm:t>
    </dgm:pt>
    <dgm:pt modelId="{8AACCAB1-C2B9-4F20-8145-CEEBD86EA011}" type="sibTrans" cxnId="{C92B0ADE-8353-42C1-8AE7-2268181BDDC0}">
      <dgm:prSet/>
      <dgm:spPr/>
      <dgm:t>
        <a:bodyPr/>
        <a:lstStyle/>
        <a:p>
          <a:endParaRPr lang="es-CL"/>
        </a:p>
      </dgm:t>
    </dgm:pt>
    <dgm:pt modelId="{9AEC49EB-07C5-40B7-89DE-BB1848256196}" type="parTrans" cxnId="{C92B0ADE-8353-42C1-8AE7-2268181BDDC0}">
      <dgm:prSet/>
      <dgm:spPr/>
      <dgm:t>
        <a:bodyPr/>
        <a:lstStyle/>
        <a:p>
          <a:endParaRPr lang="es-CL"/>
        </a:p>
      </dgm:t>
    </dgm:pt>
    <dgm:pt modelId="{87393EAA-87C7-47B8-9264-9B2986EEAFA7}" type="pres">
      <dgm:prSet presAssocID="{86D96D73-13BE-410B-BAE6-101D30D955E1}" presName="rootnode" presStyleCnt="0">
        <dgm:presLayoutVars>
          <dgm:chMax/>
          <dgm:chPref/>
          <dgm:dir/>
          <dgm:animLvl val="lvl"/>
        </dgm:presLayoutVars>
      </dgm:prSet>
      <dgm:spPr/>
    </dgm:pt>
    <dgm:pt modelId="{66E039F6-FFC9-413A-873E-6ACC5A71AF31}" type="pres">
      <dgm:prSet presAssocID="{C83514C3-6AE6-4C76-84F8-19170918A4CB}" presName="composite" presStyleCnt="0"/>
      <dgm:spPr/>
    </dgm:pt>
    <dgm:pt modelId="{C0F9BE43-860D-4DD4-87C7-A8F1D727C14A}" type="pres">
      <dgm:prSet presAssocID="{C83514C3-6AE6-4C76-84F8-19170918A4CB}" presName="bentUpArrow1" presStyleLbl="alignImgPlace1" presStyleIdx="0" presStyleCnt="5" custScaleX="71458" custLinFactNeighborX="-16079" custLinFactNeighborY="4882"/>
      <dgm:spPr>
        <a:solidFill>
          <a:schemeClr val="accent1"/>
        </a:solidFill>
      </dgm:spPr>
    </dgm:pt>
    <dgm:pt modelId="{AC93B84D-0F15-4CB4-A6EC-0B12B6A36517}" type="pres">
      <dgm:prSet presAssocID="{C83514C3-6AE6-4C76-84F8-19170918A4CB}" presName="ParentText" presStyleLbl="node1" presStyleIdx="0" presStyleCnt="6" custScaleX="146378">
        <dgm:presLayoutVars>
          <dgm:chMax val="1"/>
          <dgm:chPref val="1"/>
          <dgm:bulletEnabled val="1"/>
        </dgm:presLayoutVars>
      </dgm:prSet>
      <dgm:spPr/>
    </dgm:pt>
    <dgm:pt modelId="{9A656709-791E-4C40-AD77-1C2ACF55E76D}" type="pres">
      <dgm:prSet presAssocID="{C83514C3-6AE6-4C76-84F8-19170918A4CB}" presName="Child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BB25DD04-CAD6-4BC0-9BB8-544170CDA299}" type="pres">
      <dgm:prSet presAssocID="{43B9D89E-2CFB-4799-AC62-6D56D1DECC96}" presName="sibTrans" presStyleCnt="0"/>
      <dgm:spPr/>
    </dgm:pt>
    <dgm:pt modelId="{90D7A799-7043-415A-818F-666BA7AB735D}" type="pres">
      <dgm:prSet presAssocID="{69F6E16D-8EE7-4638-84F1-2E5A774956B9}" presName="composite" presStyleCnt="0"/>
      <dgm:spPr/>
    </dgm:pt>
    <dgm:pt modelId="{0A4CECDB-F887-40F3-BAD4-B50C78DE772E}" type="pres">
      <dgm:prSet presAssocID="{69F6E16D-8EE7-4638-84F1-2E5A774956B9}" presName="bentUpArrow1" presStyleLbl="alignImgPlace1" presStyleIdx="1" presStyleCnt="5" custScaleX="66487" custLinFactNeighborX="-9647" custLinFactNeighborY="7322"/>
      <dgm:spPr>
        <a:solidFill>
          <a:schemeClr val="accent1"/>
        </a:solidFill>
      </dgm:spPr>
    </dgm:pt>
    <dgm:pt modelId="{96B7D02C-849A-4232-A119-D9A7BB494A68}" type="pres">
      <dgm:prSet presAssocID="{69F6E16D-8EE7-4638-84F1-2E5A774956B9}" presName="ParentText" presStyleLbl="node1" presStyleIdx="1" presStyleCnt="6" custScaleX="150384">
        <dgm:presLayoutVars>
          <dgm:chMax val="1"/>
          <dgm:chPref val="1"/>
          <dgm:bulletEnabled val="1"/>
        </dgm:presLayoutVars>
      </dgm:prSet>
      <dgm:spPr/>
    </dgm:pt>
    <dgm:pt modelId="{7B1AB4DA-23DB-45C9-9BDA-3B5232596E95}" type="pres">
      <dgm:prSet presAssocID="{69F6E16D-8EE7-4638-84F1-2E5A774956B9}" presName="Child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261C8D73-14CD-46C2-9C37-4AE26C7D88DA}" type="pres">
      <dgm:prSet presAssocID="{8AACCAB1-C2B9-4F20-8145-CEEBD86EA011}" presName="sibTrans" presStyleCnt="0"/>
      <dgm:spPr/>
    </dgm:pt>
    <dgm:pt modelId="{7FF56C48-CCDE-44CC-B355-4CF9C4781D4E}" type="pres">
      <dgm:prSet presAssocID="{F61C6A9E-4DA4-4781-9C97-866E22CAC256}" presName="composite" presStyleCnt="0"/>
      <dgm:spPr/>
    </dgm:pt>
    <dgm:pt modelId="{D1F1ECE0-CC9C-458D-A1E6-8FD5A78424EB}" type="pres">
      <dgm:prSet presAssocID="{F61C6A9E-4DA4-4781-9C97-866E22CAC256}" presName="bentUpArrow1" presStyleLbl="alignImgPlace1" presStyleIdx="2" presStyleCnt="5" custScaleX="70562" custLinFactNeighborX="-33230" custLinFactNeighborY="3568"/>
      <dgm:spPr>
        <a:solidFill>
          <a:schemeClr val="accent1"/>
        </a:solidFill>
      </dgm:spPr>
    </dgm:pt>
    <dgm:pt modelId="{A1D37C5D-8297-4F3A-9B6E-0515A88FF331}" type="pres">
      <dgm:prSet presAssocID="{F61C6A9E-4DA4-4781-9C97-866E22CAC256}" presName="ParentText" presStyleLbl="node1" presStyleIdx="2" presStyleCnt="6" custScaleX="186116">
        <dgm:presLayoutVars>
          <dgm:chMax val="1"/>
          <dgm:chPref val="1"/>
          <dgm:bulletEnabled val="1"/>
        </dgm:presLayoutVars>
      </dgm:prSet>
      <dgm:spPr/>
    </dgm:pt>
    <dgm:pt modelId="{F61E1E0A-9F81-4114-8DE3-70C6C5B46249}" type="pres">
      <dgm:prSet presAssocID="{F61C6A9E-4DA4-4781-9C97-866E22CAC256}" presName="Child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38611C06-B659-405F-B324-434BF4E989E6}" type="pres">
      <dgm:prSet presAssocID="{3880638B-C8ED-43BB-952B-40E0AF2774CD}" presName="sibTrans" presStyleCnt="0"/>
      <dgm:spPr/>
    </dgm:pt>
    <dgm:pt modelId="{BECCD791-BA7F-4BF8-99BE-A37A8066D5E6}" type="pres">
      <dgm:prSet presAssocID="{AB1A26AC-64AD-4858-941F-684F923AFE0B}" presName="composite" presStyleCnt="0"/>
      <dgm:spPr/>
    </dgm:pt>
    <dgm:pt modelId="{2CDEA69E-191C-40D1-9B80-A25AD659B75C}" type="pres">
      <dgm:prSet presAssocID="{AB1A26AC-64AD-4858-941F-684F923AFE0B}" presName="bentUpArrow1" presStyleLbl="alignImgPlace1" presStyleIdx="3" presStyleCnt="5" custScaleX="68595" custLinFactNeighborX="-18949" custLinFactNeighborY="11837"/>
      <dgm:spPr>
        <a:solidFill>
          <a:schemeClr val="accent1"/>
        </a:solidFill>
      </dgm:spPr>
    </dgm:pt>
    <dgm:pt modelId="{77362183-52F3-4141-A54B-770BA9A7C1FE}" type="pres">
      <dgm:prSet presAssocID="{AB1A26AC-64AD-4858-941F-684F923AFE0B}" presName="ParentText" presStyleLbl="node1" presStyleIdx="3" presStyleCnt="6" custScaleX="169428">
        <dgm:presLayoutVars>
          <dgm:chMax val="1"/>
          <dgm:chPref val="1"/>
          <dgm:bulletEnabled val="1"/>
        </dgm:presLayoutVars>
      </dgm:prSet>
      <dgm:spPr/>
    </dgm:pt>
    <dgm:pt modelId="{656234F6-8B33-4C84-9441-721B7A9CBEAA}" type="pres">
      <dgm:prSet presAssocID="{AB1A26AC-64AD-4858-941F-684F923AFE0B}" presName="Child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5C4F5853-D1DB-4B40-A4C6-1D8085D5B92F}" type="pres">
      <dgm:prSet presAssocID="{79E47C08-DA18-4C8A-9FEC-20A56874276D}" presName="sibTrans" presStyleCnt="0"/>
      <dgm:spPr/>
    </dgm:pt>
    <dgm:pt modelId="{623C0B1F-7FFB-42DD-B230-B9B3C4BEBAD5}" type="pres">
      <dgm:prSet presAssocID="{990350A8-972F-47FC-B88C-9B755ECCBA2F}" presName="composite" presStyleCnt="0"/>
      <dgm:spPr/>
    </dgm:pt>
    <dgm:pt modelId="{2D9BB712-A461-4757-908A-EBAA22A7E6FD}" type="pres">
      <dgm:prSet presAssocID="{990350A8-972F-47FC-B88C-9B755ECCBA2F}" presName="bentUpArrow1" presStyleLbl="alignImgPlace1" presStyleIdx="4" presStyleCnt="5" custScaleX="72446" custLinFactNeighborX="-24723" custLinFactNeighborY="3661"/>
      <dgm:spPr>
        <a:solidFill>
          <a:schemeClr val="accent1"/>
        </a:solidFill>
      </dgm:spPr>
    </dgm:pt>
    <dgm:pt modelId="{FE78E536-D37B-4262-BAFF-418AE7BF0052}" type="pres">
      <dgm:prSet presAssocID="{990350A8-972F-47FC-B88C-9B755ECCBA2F}" presName="ParentText" presStyleLbl="node1" presStyleIdx="4" presStyleCnt="6" custScaleX="188847">
        <dgm:presLayoutVars>
          <dgm:chMax val="1"/>
          <dgm:chPref val="1"/>
          <dgm:bulletEnabled val="1"/>
        </dgm:presLayoutVars>
      </dgm:prSet>
      <dgm:spPr/>
    </dgm:pt>
    <dgm:pt modelId="{04B9081B-8053-4B50-B0B4-7A0B345EB5AA}" type="pres">
      <dgm:prSet presAssocID="{990350A8-972F-47FC-B88C-9B755ECCBA2F}" presName="ChildText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39B7E2DF-1139-405C-A4E6-D9236AEBEE5B}" type="pres">
      <dgm:prSet presAssocID="{EFE3BFF1-1415-40AC-8DC3-C64DB14FA42F}" presName="sibTrans" presStyleCnt="0"/>
      <dgm:spPr/>
    </dgm:pt>
    <dgm:pt modelId="{5F354A46-0485-4CED-8CA3-D31F14BEE7CF}" type="pres">
      <dgm:prSet presAssocID="{85749093-C8D1-42D9-B3BC-6A7B40DFC82D}" presName="composite" presStyleCnt="0"/>
      <dgm:spPr/>
    </dgm:pt>
    <dgm:pt modelId="{70FE2306-4356-4E27-9548-0E3B6815CA97}" type="pres">
      <dgm:prSet presAssocID="{85749093-C8D1-42D9-B3BC-6A7B40DFC82D}" presName="ParentText" presStyleLbl="node1" presStyleIdx="5" presStyleCnt="6" custScaleX="189484" custLinFactNeighborX="11599" custLinFactNeighborY="4511">
        <dgm:presLayoutVars>
          <dgm:chMax val="1"/>
          <dgm:chPref val="1"/>
          <dgm:bulletEnabled val="1"/>
        </dgm:presLayoutVars>
      </dgm:prSet>
      <dgm:spPr/>
    </dgm:pt>
  </dgm:ptLst>
  <dgm:cxnLst>
    <dgm:cxn modelId="{E524CB03-05B4-471B-B8EC-C186B1286164}" type="presOf" srcId="{990350A8-972F-47FC-B88C-9B755ECCBA2F}" destId="{FE78E536-D37B-4262-BAFF-418AE7BF0052}" srcOrd="0" destOrd="0" presId="urn:microsoft.com/office/officeart/2005/8/layout/StepDownProcess"/>
    <dgm:cxn modelId="{B2F48F24-B077-4C22-91A6-C70A67DADE74}" srcId="{86D96D73-13BE-410B-BAE6-101D30D955E1}" destId="{85749093-C8D1-42D9-B3BC-6A7B40DFC82D}" srcOrd="5" destOrd="0" parTransId="{2F865537-5F5F-464A-9DCF-D48BE2C6586F}" sibTransId="{602C59F7-A09E-418A-8AD5-0DC436D9EC68}"/>
    <dgm:cxn modelId="{ECE1EF25-A8D0-4539-9FE3-2F2A6B7680DA}" srcId="{86D96D73-13BE-410B-BAE6-101D30D955E1}" destId="{AB1A26AC-64AD-4858-941F-684F923AFE0B}" srcOrd="3" destOrd="0" parTransId="{32A35EE1-0FD1-4ED6-B0A9-22FAAA0352EC}" sibTransId="{79E47C08-DA18-4C8A-9FEC-20A56874276D}"/>
    <dgm:cxn modelId="{E3F3AC2F-0F54-41D7-8360-18289A9C0710}" type="presOf" srcId="{C83514C3-6AE6-4C76-84F8-19170918A4CB}" destId="{AC93B84D-0F15-4CB4-A6EC-0B12B6A36517}" srcOrd="0" destOrd="0" presId="urn:microsoft.com/office/officeart/2005/8/layout/StepDownProcess"/>
    <dgm:cxn modelId="{0DB98352-6965-4EE0-A63B-0468473EE788}" type="presOf" srcId="{85749093-C8D1-42D9-B3BC-6A7B40DFC82D}" destId="{70FE2306-4356-4E27-9548-0E3B6815CA97}" srcOrd="0" destOrd="0" presId="urn:microsoft.com/office/officeart/2005/8/layout/StepDownProcess"/>
    <dgm:cxn modelId="{4063EF82-4140-4DA7-B401-525355261045}" type="presOf" srcId="{F61C6A9E-4DA4-4781-9C97-866E22CAC256}" destId="{A1D37C5D-8297-4F3A-9B6E-0515A88FF331}" srcOrd="0" destOrd="0" presId="urn:microsoft.com/office/officeart/2005/8/layout/StepDownProcess"/>
    <dgm:cxn modelId="{E9D9F5A6-D00D-4192-A992-168D4EEAEE6C}" srcId="{86D96D73-13BE-410B-BAE6-101D30D955E1}" destId="{C83514C3-6AE6-4C76-84F8-19170918A4CB}" srcOrd="0" destOrd="0" parTransId="{972FFBF6-7BA6-4B6A-A929-B1BCF439B7CA}" sibTransId="{43B9D89E-2CFB-4799-AC62-6D56D1DECC96}"/>
    <dgm:cxn modelId="{02DCC2AA-49A5-4064-97E5-9447097969E6}" srcId="{86D96D73-13BE-410B-BAE6-101D30D955E1}" destId="{990350A8-972F-47FC-B88C-9B755ECCBA2F}" srcOrd="4" destOrd="0" parTransId="{96C3E239-CE6E-402F-82EF-6CF6D715929E}" sibTransId="{EFE3BFF1-1415-40AC-8DC3-C64DB14FA42F}"/>
    <dgm:cxn modelId="{E9C4A9C9-E146-4A3E-B2DF-1C9421F5F77A}" type="presOf" srcId="{AB1A26AC-64AD-4858-941F-684F923AFE0B}" destId="{77362183-52F3-4141-A54B-770BA9A7C1FE}" srcOrd="0" destOrd="0" presId="urn:microsoft.com/office/officeart/2005/8/layout/StepDownProcess"/>
    <dgm:cxn modelId="{C92B0ADE-8353-42C1-8AE7-2268181BDDC0}" srcId="{86D96D73-13BE-410B-BAE6-101D30D955E1}" destId="{69F6E16D-8EE7-4638-84F1-2E5A774956B9}" srcOrd="1" destOrd="0" parTransId="{9AEC49EB-07C5-40B7-89DE-BB1848256196}" sibTransId="{8AACCAB1-C2B9-4F20-8145-CEEBD86EA011}"/>
    <dgm:cxn modelId="{9F578DE4-48A3-473D-9CB7-4131412915EF}" type="presOf" srcId="{86D96D73-13BE-410B-BAE6-101D30D955E1}" destId="{87393EAA-87C7-47B8-9264-9B2986EEAFA7}" srcOrd="0" destOrd="0" presId="urn:microsoft.com/office/officeart/2005/8/layout/StepDownProcess"/>
    <dgm:cxn modelId="{64DB7EE6-4D1F-45C1-B2DC-D2C71C78EEC2}" srcId="{86D96D73-13BE-410B-BAE6-101D30D955E1}" destId="{F61C6A9E-4DA4-4781-9C97-866E22CAC256}" srcOrd="2" destOrd="0" parTransId="{7B1685F8-466B-4EF0-8E42-9310FF3BC354}" sibTransId="{3880638B-C8ED-43BB-952B-40E0AF2774CD}"/>
    <dgm:cxn modelId="{81CBD8F9-345D-4346-8E7F-8D11EEE6AE43}" type="presOf" srcId="{69F6E16D-8EE7-4638-84F1-2E5A774956B9}" destId="{96B7D02C-849A-4232-A119-D9A7BB494A68}" srcOrd="0" destOrd="0" presId="urn:microsoft.com/office/officeart/2005/8/layout/StepDownProcess"/>
    <dgm:cxn modelId="{C19D5962-E6AE-4061-A843-55CAB136DFE8}" type="presParOf" srcId="{87393EAA-87C7-47B8-9264-9B2986EEAFA7}" destId="{66E039F6-FFC9-413A-873E-6ACC5A71AF31}" srcOrd="0" destOrd="0" presId="urn:microsoft.com/office/officeart/2005/8/layout/StepDownProcess"/>
    <dgm:cxn modelId="{4840DC54-9E93-4DFD-A355-A0D38E546ECA}" type="presParOf" srcId="{66E039F6-FFC9-413A-873E-6ACC5A71AF31}" destId="{C0F9BE43-860D-4DD4-87C7-A8F1D727C14A}" srcOrd="0" destOrd="0" presId="urn:microsoft.com/office/officeart/2005/8/layout/StepDownProcess"/>
    <dgm:cxn modelId="{41216B49-41C7-41A0-B89E-AD742F52F58C}" type="presParOf" srcId="{66E039F6-FFC9-413A-873E-6ACC5A71AF31}" destId="{AC93B84D-0F15-4CB4-A6EC-0B12B6A36517}" srcOrd="1" destOrd="0" presId="urn:microsoft.com/office/officeart/2005/8/layout/StepDownProcess"/>
    <dgm:cxn modelId="{9D8AB3E0-EDC5-48FE-9874-D6F058A3C36E}" type="presParOf" srcId="{66E039F6-FFC9-413A-873E-6ACC5A71AF31}" destId="{9A656709-791E-4C40-AD77-1C2ACF55E76D}" srcOrd="2" destOrd="0" presId="urn:microsoft.com/office/officeart/2005/8/layout/StepDownProcess"/>
    <dgm:cxn modelId="{DD26D9B6-9FEA-428B-8AB4-13BAEE238705}" type="presParOf" srcId="{87393EAA-87C7-47B8-9264-9B2986EEAFA7}" destId="{BB25DD04-CAD6-4BC0-9BB8-544170CDA299}" srcOrd="1" destOrd="0" presId="urn:microsoft.com/office/officeart/2005/8/layout/StepDownProcess"/>
    <dgm:cxn modelId="{F6F48BA7-B552-483E-BBBE-4AAF9FE34FFF}" type="presParOf" srcId="{87393EAA-87C7-47B8-9264-9B2986EEAFA7}" destId="{90D7A799-7043-415A-818F-666BA7AB735D}" srcOrd="2" destOrd="0" presId="urn:microsoft.com/office/officeart/2005/8/layout/StepDownProcess"/>
    <dgm:cxn modelId="{C0119272-F162-47A1-B8C8-9AB18F376274}" type="presParOf" srcId="{90D7A799-7043-415A-818F-666BA7AB735D}" destId="{0A4CECDB-F887-40F3-BAD4-B50C78DE772E}" srcOrd="0" destOrd="0" presId="urn:microsoft.com/office/officeart/2005/8/layout/StepDownProcess"/>
    <dgm:cxn modelId="{0E9E66F6-38A0-44EA-AE77-29EB2E0AEE71}" type="presParOf" srcId="{90D7A799-7043-415A-818F-666BA7AB735D}" destId="{96B7D02C-849A-4232-A119-D9A7BB494A68}" srcOrd="1" destOrd="0" presId="urn:microsoft.com/office/officeart/2005/8/layout/StepDownProcess"/>
    <dgm:cxn modelId="{D95FF33E-1840-4658-BE12-EEB2BEB970A5}" type="presParOf" srcId="{90D7A799-7043-415A-818F-666BA7AB735D}" destId="{7B1AB4DA-23DB-45C9-9BDA-3B5232596E95}" srcOrd="2" destOrd="0" presId="urn:microsoft.com/office/officeart/2005/8/layout/StepDownProcess"/>
    <dgm:cxn modelId="{C3240463-504C-45D4-A99F-62FC3FB0B4AA}" type="presParOf" srcId="{87393EAA-87C7-47B8-9264-9B2986EEAFA7}" destId="{261C8D73-14CD-46C2-9C37-4AE26C7D88DA}" srcOrd="3" destOrd="0" presId="urn:microsoft.com/office/officeart/2005/8/layout/StepDownProcess"/>
    <dgm:cxn modelId="{91594347-6DF9-46C6-882B-B9A9E51A4DE4}" type="presParOf" srcId="{87393EAA-87C7-47B8-9264-9B2986EEAFA7}" destId="{7FF56C48-CCDE-44CC-B355-4CF9C4781D4E}" srcOrd="4" destOrd="0" presId="urn:microsoft.com/office/officeart/2005/8/layout/StepDownProcess"/>
    <dgm:cxn modelId="{317530A0-2BF5-4A22-95B0-6F9AF708BABE}" type="presParOf" srcId="{7FF56C48-CCDE-44CC-B355-4CF9C4781D4E}" destId="{D1F1ECE0-CC9C-458D-A1E6-8FD5A78424EB}" srcOrd="0" destOrd="0" presId="urn:microsoft.com/office/officeart/2005/8/layout/StepDownProcess"/>
    <dgm:cxn modelId="{2D521ECD-07B1-4F61-9AB6-D7494F474A04}" type="presParOf" srcId="{7FF56C48-CCDE-44CC-B355-4CF9C4781D4E}" destId="{A1D37C5D-8297-4F3A-9B6E-0515A88FF331}" srcOrd="1" destOrd="0" presId="urn:microsoft.com/office/officeart/2005/8/layout/StepDownProcess"/>
    <dgm:cxn modelId="{4AD3086C-7A4C-437B-A1F3-7265F9466816}" type="presParOf" srcId="{7FF56C48-CCDE-44CC-B355-4CF9C4781D4E}" destId="{F61E1E0A-9F81-4114-8DE3-70C6C5B46249}" srcOrd="2" destOrd="0" presId="urn:microsoft.com/office/officeart/2005/8/layout/StepDownProcess"/>
    <dgm:cxn modelId="{5675D67A-A0B5-4BC8-9179-8F4B491D1B53}" type="presParOf" srcId="{87393EAA-87C7-47B8-9264-9B2986EEAFA7}" destId="{38611C06-B659-405F-B324-434BF4E989E6}" srcOrd="5" destOrd="0" presId="urn:microsoft.com/office/officeart/2005/8/layout/StepDownProcess"/>
    <dgm:cxn modelId="{15C449E7-F6F6-4031-8088-53FB80DAFA1B}" type="presParOf" srcId="{87393EAA-87C7-47B8-9264-9B2986EEAFA7}" destId="{BECCD791-BA7F-4BF8-99BE-A37A8066D5E6}" srcOrd="6" destOrd="0" presId="urn:microsoft.com/office/officeart/2005/8/layout/StepDownProcess"/>
    <dgm:cxn modelId="{44A0C96D-DCE2-48F1-AD4D-40C72CD0E0C4}" type="presParOf" srcId="{BECCD791-BA7F-4BF8-99BE-A37A8066D5E6}" destId="{2CDEA69E-191C-40D1-9B80-A25AD659B75C}" srcOrd="0" destOrd="0" presId="urn:microsoft.com/office/officeart/2005/8/layout/StepDownProcess"/>
    <dgm:cxn modelId="{F861BAD1-6615-4CCA-85A3-5E3F5BDB91B4}" type="presParOf" srcId="{BECCD791-BA7F-4BF8-99BE-A37A8066D5E6}" destId="{77362183-52F3-4141-A54B-770BA9A7C1FE}" srcOrd="1" destOrd="0" presId="urn:microsoft.com/office/officeart/2005/8/layout/StepDownProcess"/>
    <dgm:cxn modelId="{162DE37B-372E-4EBC-B89E-781CBFE1C800}" type="presParOf" srcId="{BECCD791-BA7F-4BF8-99BE-A37A8066D5E6}" destId="{656234F6-8B33-4C84-9441-721B7A9CBEAA}" srcOrd="2" destOrd="0" presId="urn:microsoft.com/office/officeart/2005/8/layout/StepDownProcess"/>
    <dgm:cxn modelId="{0ED72B3D-2BC4-4B2A-A92F-8EB7A51F25D2}" type="presParOf" srcId="{87393EAA-87C7-47B8-9264-9B2986EEAFA7}" destId="{5C4F5853-D1DB-4B40-A4C6-1D8085D5B92F}" srcOrd="7" destOrd="0" presId="urn:microsoft.com/office/officeart/2005/8/layout/StepDownProcess"/>
    <dgm:cxn modelId="{D5C1F135-B585-49BD-9DD7-18E3C5F11A7A}" type="presParOf" srcId="{87393EAA-87C7-47B8-9264-9B2986EEAFA7}" destId="{623C0B1F-7FFB-42DD-B230-B9B3C4BEBAD5}" srcOrd="8" destOrd="0" presId="urn:microsoft.com/office/officeart/2005/8/layout/StepDownProcess"/>
    <dgm:cxn modelId="{0F06BF53-2766-44C0-9857-5840A37EF87E}" type="presParOf" srcId="{623C0B1F-7FFB-42DD-B230-B9B3C4BEBAD5}" destId="{2D9BB712-A461-4757-908A-EBAA22A7E6FD}" srcOrd="0" destOrd="0" presId="urn:microsoft.com/office/officeart/2005/8/layout/StepDownProcess"/>
    <dgm:cxn modelId="{951DC215-9A12-4745-957D-E7D8F4D324A3}" type="presParOf" srcId="{623C0B1F-7FFB-42DD-B230-B9B3C4BEBAD5}" destId="{FE78E536-D37B-4262-BAFF-418AE7BF0052}" srcOrd="1" destOrd="0" presId="urn:microsoft.com/office/officeart/2005/8/layout/StepDownProcess"/>
    <dgm:cxn modelId="{2B1F907C-3433-4C7F-BFC6-D570FDF1DCED}" type="presParOf" srcId="{623C0B1F-7FFB-42DD-B230-B9B3C4BEBAD5}" destId="{04B9081B-8053-4B50-B0B4-7A0B345EB5AA}" srcOrd="2" destOrd="0" presId="urn:microsoft.com/office/officeart/2005/8/layout/StepDownProcess"/>
    <dgm:cxn modelId="{36E4E872-1EFC-4CA1-9959-3C3F21019AFC}" type="presParOf" srcId="{87393EAA-87C7-47B8-9264-9B2986EEAFA7}" destId="{39B7E2DF-1139-405C-A4E6-D9236AEBEE5B}" srcOrd="9" destOrd="0" presId="urn:microsoft.com/office/officeart/2005/8/layout/StepDownProcess"/>
    <dgm:cxn modelId="{6EBD232E-99D2-4C49-A39B-C78486DB2CFB}" type="presParOf" srcId="{87393EAA-87C7-47B8-9264-9B2986EEAFA7}" destId="{5F354A46-0485-4CED-8CA3-D31F14BEE7CF}" srcOrd="10" destOrd="0" presId="urn:microsoft.com/office/officeart/2005/8/layout/StepDownProcess"/>
    <dgm:cxn modelId="{4949F022-9672-4E94-A93F-7AD9FB6ED2AF}" type="presParOf" srcId="{5F354A46-0485-4CED-8CA3-D31F14BEE7CF}" destId="{70FE2306-4356-4E27-9548-0E3B6815CA97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7E12D4-5A60-42A2-B29A-3EF7A0B901DC}">
      <dsp:nvSpPr>
        <dsp:cNvPr id="0" name=""/>
        <dsp:cNvSpPr/>
      </dsp:nvSpPr>
      <dsp:spPr>
        <a:xfrm>
          <a:off x="116373" y="1076353"/>
          <a:ext cx="1626592" cy="5360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600" kern="1200" dirty="0"/>
            <a:t>Automatización</a:t>
          </a:r>
          <a:endParaRPr lang="id-ID" sz="1500" kern="1200" dirty="0"/>
        </a:p>
      </dsp:txBody>
      <dsp:txXfrm>
        <a:off x="116373" y="1076353"/>
        <a:ext cx="1626592" cy="536036"/>
      </dsp:txXfrm>
    </dsp:sp>
    <dsp:sp modelId="{5DE7AD63-29E0-4588-89ED-4EAB14DD2F73}">
      <dsp:nvSpPr>
        <dsp:cNvPr id="0" name=""/>
        <dsp:cNvSpPr/>
      </dsp:nvSpPr>
      <dsp:spPr>
        <a:xfrm>
          <a:off x="114525" y="913324"/>
          <a:ext cx="129388" cy="129388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A7C6F9-E087-4531-A2B9-5269CA74C7F5}">
      <dsp:nvSpPr>
        <dsp:cNvPr id="0" name=""/>
        <dsp:cNvSpPr/>
      </dsp:nvSpPr>
      <dsp:spPr>
        <a:xfrm>
          <a:off x="205096" y="732181"/>
          <a:ext cx="129388" cy="129388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6E0253-BD08-4563-94B6-750D4A4A780C}">
      <dsp:nvSpPr>
        <dsp:cNvPr id="0" name=""/>
        <dsp:cNvSpPr/>
      </dsp:nvSpPr>
      <dsp:spPr>
        <a:xfrm>
          <a:off x="422468" y="768409"/>
          <a:ext cx="203324" cy="203324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C3CB92-4C72-4ACA-81E7-00D84A9ECAF1}">
      <dsp:nvSpPr>
        <dsp:cNvPr id="0" name=""/>
        <dsp:cNvSpPr/>
      </dsp:nvSpPr>
      <dsp:spPr>
        <a:xfrm>
          <a:off x="603612" y="569152"/>
          <a:ext cx="129388" cy="1293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2A8851-9810-40B8-8627-46554CFF6CE3}">
      <dsp:nvSpPr>
        <dsp:cNvPr id="0" name=""/>
        <dsp:cNvSpPr/>
      </dsp:nvSpPr>
      <dsp:spPr>
        <a:xfrm>
          <a:off x="839098" y="496694"/>
          <a:ext cx="129388" cy="129388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FAA2F0-1256-41FA-AA10-F22A7CBB9306}">
      <dsp:nvSpPr>
        <dsp:cNvPr id="0" name=""/>
        <dsp:cNvSpPr/>
      </dsp:nvSpPr>
      <dsp:spPr>
        <a:xfrm>
          <a:off x="1128927" y="623495"/>
          <a:ext cx="129388" cy="1293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EB2D17-A0A1-4B90-8646-1BFD24921F1C}">
      <dsp:nvSpPr>
        <dsp:cNvPr id="0" name=""/>
        <dsp:cNvSpPr/>
      </dsp:nvSpPr>
      <dsp:spPr>
        <a:xfrm>
          <a:off x="1310070" y="714066"/>
          <a:ext cx="203324" cy="203324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425CDD-8FF8-463A-86CF-FECB58FDB32F}">
      <dsp:nvSpPr>
        <dsp:cNvPr id="0" name=""/>
        <dsp:cNvSpPr/>
      </dsp:nvSpPr>
      <dsp:spPr>
        <a:xfrm>
          <a:off x="1563671" y="913324"/>
          <a:ext cx="129388" cy="129388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C1943A-5AFF-4259-BBF9-774D73946AC5}">
      <dsp:nvSpPr>
        <dsp:cNvPr id="0" name=""/>
        <dsp:cNvSpPr/>
      </dsp:nvSpPr>
      <dsp:spPr>
        <a:xfrm>
          <a:off x="1672357" y="1112582"/>
          <a:ext cx="129388" cy="129388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05E1C0-94FA-4B3B-B0DC-CCDA71560F90}">
      <dsp:nvSpPr>
        <dsp:cNvPr id="0" name=""/>
        <dsp:cNvSpPr/>
      </dsp:nvSpPr>
      <dsp:spPr>
        <a:xfrm>
          <a:off x="730412" y="732181"/>
          <a:ext cx="332712" cy="332712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565563-4970-45E5-9CAC-5C2D00A80D46}">
      <dsp:nvSpPr>
        <dsp:cNvPr id="0" name=""/>
        <dsp:cNvSpPr/>
      </dsp:nvSpPr>
      <dsp:spPr>
        <a:xfrm>
          <a:off x="23953" y="1420525"/>
          <a:ext cx="129388" cy="1293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37E19A-BF20-44A8-8720-FA3383D7D714}">
      <dsp:nvSpPr>
        <dsp:cNvPr id="0" name=""/>
        <dsp:cNvSpPr/>
      </dsp:nvSpPr>
      <dsp:spPr>
        <a:xfrm>
          <a:off x="132639" y="1583554"/>
          <a:ext cx="203324" cy="203324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538666-68D7-442E-B001-A5DE873E5B9C}">
      <dsp:nvSpPr>
        <dsp:cNvPr id="0" name=""/>
        <dsp:cNvSpPr/>
      </dsp:nvSpPr>
      <dsp:spPr>
        <a:xfrm>
          <a:off x="404354" y="1728469"/>
          <a:ext cx="295744" cy="295744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419A38-02AE-422B-A4D6-68DA2B866B73}">
      <dsp:nvSpPr>
        <dsp:cNvPr id="0" name=""/>
        <dsp:cNvSpPr/>
      </dsp:nvSpPr>
      <dsp:spPr>
        <a:xfrm>
          <a:off x="784755" y="1963955"/>
          <a:ext cx="129388" cy="12938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A11625-13D3-45E8-987C-DD7ED5D4F6C2}">
      <dsp:nvSpPr>
        <dsp:cNvPr id="0" name=""/>
        <dsp:cNvSpPr/>
      </dsp:nvSpPr>
      <dsp:spPr>
        <a:xfrm>
          <a:off x="857212" y="1728469"/>
          <a:ext cx="203324" cy="203324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0ADD0A-7968-40AC-A6E3-3B119C37A952}">
      <dsp:nvSpPr>
        <dsp:cNvPr id="0" name=""/>
        <dsp:cNvSpPr/>
      </dsp:nvSpPr>
      <dsp:spPr>
        <a:xfrm>
          <a:off x="1038355" y="1982069"/>
          <a:ext cx="129388" cy="129388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5544FF-AA31-46AB-879A-2162985B3080}">
      <dsp:nvSpPr>
        <dsp:cNvPr id="0" name=""/>
        <dsp:cNvSpPr/>
      </dsp:nvSpPr>
      <dsp:spPr>
        <a:xfrm>
          <a:off x="1201384" y="1692240"/>
          <a:ext cx="295744" cy="29574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FEE905-5A82-4031-AC66-BDCDF1FA1CC8}">
      <dsp:nvSpPr>
        <dsp:cNvPr id="0" name=""/>
        <dsp:cNvSpPr/>
      </dsp:nvSpPr>
      <dsp:spPr>
        <a:xfrm>
          <a:off x="1599900" y="1619783"/>
          <a:ext cx="203324" cy="203324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CEECC-18A3-41BB-BA29-901060DEB8DE}">
      <dsp:nvSpPr>
        <dsp:cNvPr id="0" name=""/>
        <dsp:cNvSpPr/>
      </dsp:nvSpPr>
      <dsp:spPr>
        <a:xfrm>
          <a:off x="1941084" y="833532"/>
          <a:ext cx="597133" cy="1139993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87F79B-BC7A-4A3A-8100-1B1B038DB88F}">
      <dsp:nvSpPr>
        <dsp:cNvPr id="0" name=""/>
        <dsp:cNvSpPr/>
      </dsp:nvSpPr>
      <dsp:spPr>
        <a:xfrm>
          <a:off x="2400358" y="768662"/>
          <a:ext cx="1628546" cy="1139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600" kern="1200" dirty="0"/>
            <a:t>Ejecución</a:t>
          </a:r>
          <a:r>
            <a:rPr lang="es-MX" sz="1500" kern="1200" dirty="0"/>
            <a:t> </a:t>
          </a:r>
          <a:endParaRPr lang="id-ID" sz="1500" kern="1200" dirty="0"/>
        </a:p>
      </dsp:txBody>
      <dsp:txXfrm>
        <a:off x="2400358" y="768662"/>
        <a:ext cx="1628546" cy="1139982"/>
      </dsp:txXfrm>
    </dsp:sp>
    <dsp:sp modelId="{7F5BC64C-0183-43B2-B8D3-E6A6A4811D97}">
      <dsp:nvSpPr>
        <dsp:cNvPr id="0" name=""/>
        <dsp:cNvSpPr/>
      </dsp:nvSpPr>
      <dsp:spPr>
        <a:xfrm>
          <a:off x="3789006" y="752844"/>
          <a:ext cx="597133" cy="1139993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EC1365-A4CA-4258-8491-8A26A2C13A64}">
      <dsp:nvSpPr>
        <dsp:cNvPr id="0" name=""/>
        <dsp:cNvSpPr/>
      </dsp:nvSpPr>
      <dsp:spPr>
        <a:xfrm>
          <a:off x="4295427" y="812790"/>
          <a:ext cx="1628546" cy="1139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600" kern="1200" dirty="0"/>
            <a:t>Scanner</a:t>
          </a:r>
          <a:endParaRPr lang="id-ID" sz="1600" kern="1200" dirty="0"/>
        </a:p>
      </dsp:txBody>
      <dsp:txXfrm>
        <a:off x="4295427" y="812790"/>
        <a:ext cx="1628546" cy="1139982"/>
      </dsp:txXfrm>
    </dsp:sp>
    <dsp:sp modelId="{10FA0E78-C0F0-4DAC-B403-B1B5CF182E3E}">
      <dsp:nvSpPr>
        <dsp:cNvPr id="0" name=""/>
        <dsp:cNvSpPr/>
      </dsp:nvSpPr>
      <dsp:spPr>
        <a:xfrm>
          <a:off x="5559038" y="765247"/>
          <a:ext cx="597133" cy="1139993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73218F-5EDE-4F08-BE1C-C26B93BE001E}">
      <dsp:nvSpPr>
        <dsp:cNvPr id="0" name=""/>
        <dsp:cNvSpPr/>
      </dsp:nvSpPr>
      <dsp:spPr>
        <a:xfrm>
          <a:off x="6409640" y="598219"/>
          <a:ext cx="1721665" cy="1518677"/>
        </a:xfrm>
        <a:prstGeom prst="ellipse">
          <a:avLst/>
        </a:prstGeom>
        <a:solidFill>
          <a:schemeClr val="bg2"/>
        </a:solidFill>
        <a:ln w="25400" cap="flat" cmpd="sng" algn="ctr">
          <a:solidFill>
            <a:schemeClr val="accent1">
              <a:lumMod val="25000"/>
              <a:lumOff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kern="1200" dirty="0"/>
            <a:t>¡</a:t>
          </a:r>
          <a:r>
            <a:rPr lang="es-MX" sz="1600" kern="1200" dirty="0"/>
            <a:t>Detección</a:t>
          </a:r>
          <a:r>
            <a:rPr lang="es-MX" sz="1500" kern="1200" dirty="0"/>
            <a:t>!</a:t>
          </a:r>
          <a:endParaRPr lang="id-ID" sz="1500" kern="1200" dirty="0"/>
        </a:p>
      </dsp:txBody>
      <dsp:txXfrm>
        <a:off x="6661772" y="820624"/>
        <a:ext cx="1217401" cy="10738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9BE43-860D-4DD4-87C7-A8F1D727C14A}">
      <dsp:nvSpPr>
        <dsp:cNvPr id="0" name=""/>
        <dsp:cNvSpPr/>
      </dsp:nvSpPr>
      <dsp:spPr>
        <a:xfrm rot="5400000">
          <a:off x="1731202" y="767756"/>
          <a:ext cx="559168" cy="45489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93B84D-0F15-4CB4-A6EC-0B12B6A36517}">
      <dsp:nvSpPr>
        <dsp:cNvPr id="0" name=""/>
        <dsp:cNvSpPr/>
      </dsp:nvSpPr>
      <dsp:spPr>
        <a:xfrm>
          <a:off x="1467134" y="29760"/>
          <a:ext cx="1377870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b="0" i="0" kern="1200" baseline="0" dirty="0">
              <a:solidFill>
                <a:schemeClr val="accent3">
                  <a:lumMod val="95000"/>
                  <a:lumOff val="5000"/>
                </a:schemeClr>
              </a:solidFill>
            </a:rPr>
            <a:t>Requisitos</a:t>
          </a:r>
          <a:endParaRPr lang="es-ES" sz="1600" kern="1200" dirty="0">
            <a:solidFill>
              <a:schemeClr val="accent3">
                <a:lumMod val="95000"/>
                <a:lumOff val="5000"/>
              </a:schemeClr>
            </a:solidFill>
          </a:endParaRPr>
        </a:p>
      </dsp:txBody>
      <dsp:txXfrm>
        <a:off x="1499304" y="61930"/>
        <a:ext cx="1313530" cy="594546"/>
      </dsp:txXfrm>
    </dsp:sp>
    <dsp:sp modelId="{9A656709-791E-4C40-AD77-1C2ACF55E76D}">
      <dsp:nvSpPr>
        <dsp:cNvPr id="0" name=""/>
        <dsp:cNvSpPr/>
      </dsp:nvSpPr>
      <dsp:spPr>
        <a:xfrm>
          <a:off x="2626724" y="92600"/>
          <a:ext cx="684619" cy="532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4CECDB-F887-40F3-BAD4-B50C78DE772E}">
      <dsp:nvSpPr>
        <dsp:cNvPr id="0" name=""/>
        <dsp:cNvSpPr/>
      </dsp:nvSpPr>
      <dsp:spPr>
        <a:xfrm rot="5400000">
          <a:off x="2676222" y="1537369"/>
          <a:ext cx="559168" cy="4232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B7D02C-849A-4232-A119-D9A7BB494A68}">
      <dsp:nvSpPr>
        <dsp:cNvPr id="0" name=""/>
        <dsp:cNvSpPr/>
      </dsp:nvSpPr>
      <dsp:spPr>
        <a:xfrm>
          <a:off x="2352354" y="769907"/>
          <a:ext cx="1415579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>
              <a:solidFill>
                <a:schemeClr val="accent3">
                  <a:lumMod val="95000"/>
                  <a:lumOff val="5000"/>
                </a:schemeClr>
              </a:solidFill>
            </a:rPr>
            <a:t>Diseño del Sistema</a:t>
          </a:r>
        </a:p>
      </dsp:txBody>
      <dsp:txXfrm>
        <a:off x="2384524" y="802077"/>
        <a:ext cx="1351239" cy="594546"/>
      </dsp:txXfrm>
    </dsp:sp>
    <dsp:sp modelId="{7B1AB4DA-23DB-45C9-9BDA-3B5232596E95}">
      <dsp:nvSpPr>
        <dsp:cNvPr id="0" name=""/>
        <dsp:cNvSpPr/>
      </dsp:nvSpPr>
      <dsp:spPr>
        <a:xfrm>
          <a:off x="3530799" y="832746"/>
          <a:ext cx="684619" cy="532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F1ECE0-CC9C-458D-A1E6-8FD5A78424EB}">
      <dsp:nvSpPr>
        <dsp:cNvPr id="0" name=""/>
        <dsp:cNvSpPr/>
      </dsp:nvSpPr>
      <dsp:spPr>
        <a:xfrm rot="5400000">
          <a:off x="3579489" y="2243554"/>
          <a:ext cx="559168" cy="44919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D37C5D-8297-4F3A-9B6E-0515A88FF331}">
      <dsp:nvSpPr>
        <dsp:cNvPr id="0" name=""/>
        <dsp:cNvSpPr/>
      </dsp:nvSpPr>
      <dsp:spPr>
        <a:xfrm>
          <a:off x="3237574" y="1510053"/>
          <a:ext cx="1751928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>
              <a:solidFill>
                <a:schemeClr val="accent3">
                  <a:lumMod val="95000"/>
                  <a:lumOff val="5000"/>
                </a:schemeClr>
              </a:solidFill>
            </a:rPr>
            <a:t>Implementación</a:t>
          </a:r>
        </a:p>
      </dsp:txBody>
      <dsp:txXfrm>
        <a:off x="3269744" y="1542223"/>
        <a:ext cx="1687588" cy="594546"/>
      </dsp:txXfrm>
    </dsp:sp>
    <dsp:sp modelId="{F61E1E0A-9F81-4114-8DE3-70C6C5B46249}">
      <dsp:nvSpPr>
        <dsp:cNvPr id="0" name=""/>
        <dsp:cNvSpPr/>
      </dsp:nvSpPr>
      <dsp:spPr>
        <a:xfrm>
          <a:off x="4584194" y="1572893"/>
          <a:ext cx="684619" cy="532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DEA69E-191C-40D1-9B80-A25AD659B75C}">
      <dsp:nvSpPr>
        <dsp:cNvPr id="0" name=""/>
        <dsp:cNvSpPr/>
      </dsp:nvSpPr>
      <dsp:spPr>
        <a:xfrm rot="5400000">
          <a:off x="4477079" y="3036199"/>
          <a:ext cx="559168" cy="4366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362183-52F3-4141-A54B-770BA9A7C1FE}">
      <dsp:nvSpPr>
        <dsp:cNvPr id="0" name=""/>
        <dsp:cNvSpPr/>
      </dsp:nvSpPr>
      <dsp:spPr>
        <a:xfrm>
          <a:off x="4122795" y="2250200"/>
          <a:ext cx="1594842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>
              <a:solidFill>
                <a:schemeClr val="accent3">
                  <a:lumMod val="95000"/>
                  <a:lumOff val="5000"/>
                </a:schemeClr>
              </a:solidFill>
            </a:rPr>
            <a:t>Pruebas</a:t>
          </a:r>
        </a:p>
      </dsp:txBody>
      <dsp:txXfrm>
        <a:off x="4154965" y="2282370"/>
        <a:ext cx="1530502" cy="594546"/>
      </dsp:txXfrm>
    </dsp:sp>
    <dsp:sp modelId="{656234F6-8B33-4C84-9441-721B7A9CBEAA}">
      <dsp:nvSpPr>
        <dsp:cNvPr id="0" name=""/>
        <dsp:cNvSpPr/>
      </dsp:nvSpPr>
      <dsp:spPr>
        <a:xfrm>
          <a:off x="5390871" y="2313040"/>
          <a:ext cx="684619" cy="532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9BB712-A461-4757-908A-EBAA22A7E6FD}">
      <dsp:nvSpPr>
        <dsp:cNvPr id="0" name=""/>
        <dsp:cNvSpPr/>
      </dsp:nvSpPr>
      <dsp:spPr>
        <a:xfrm rot="5400000">
          <a:off x="5416939" y="3718371"/>
          <a:ext cx="559168" cy="46118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78E536-D37B-4262-BAFF-418AE7BF0052}">
      <dsp:nvSpPr>
        <dsp:cNvPr id="0" name=""/>
        <dsp:cNvSpPr/>
      </dsp:nvSpPr>
      <dsp:spPr>
        <a:xfrm>
          <a:off x="5008015" y="2990347"/>
          <a:ext cx="1777635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b="0" i="0" kern="1200" dirty="0">
              <a:solidFill>
                <a:schemeClr val="accent3">
                  <a:lumMod val="95000"/>
                  <a:lumOff val="5000"/>
                </a:schemeClr>
              </a:solidFill>
            </a:rPr>
            <a:t>Despliegue del Proyecto</a:t>
          </a:r>
        </a:p>
      </dsp:txBody>
      <dsp:txXfrm>
        <a:off x="5040185" y="3022517"/>
        <a:ext cx="1713295" cy="594546"/>
      </dsp:txXfrm>
    </dsp:sp>
    <dsp:sp modelId="{04B9081B-8053-4B50-B0B4-7A0B345EB5AA}">
      <dsp:nvSpPr>
        <dsp:cNvPr id="0" name=""/>
        <dsp:cNvSpPr/>
      </dsp:nvSpPr>
      <dsp:spPr>
        <a:xfrm>
          <a:off x="6367488" y="3053187"/>
          <a:ext cx="684619" cy="532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FE2306-4356-4E27-9548-0E3B6815CA97}">
      <dsp:nvSpPr>
        <dsp:cNvPr id="0" name=""/>
        <dsp:cNvSpPr/>
      </dsp:nvSpPr>
      <dsp:spPr>
        <a:xfrm>
          <a:off x="6002418" y="3760216"/>
          <a:ext cx="1783631" cy="658886"/>
        </a:xfrm>
        <a:prstGeom prst="roundRect">
          <a:avLst>
            <a:gd name="adj" fmla="val 16670"/>
          </a:avLst>
        </a:prstGeom>
        <a:solidFill>
          <a:srgbClr val="B2ED7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>
              <a:solidFill>
                <a:schemeClr val="accent3">
                  <a:lumMod val="95000"/>
                  <a:lumOff val="5000"/>
                </a:schemeClr>
              </a:solidFill>
            </a:rPr>
            <a:t>Mantenimiento</a:t>
          </a:r>
        </a:p>
      </dsp:txBody>
      <dsp:txXfrm>
        <a:off x="6034588" y="3792386"/>
        <a:ext cx="1719291" cy="5945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10-12-2024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435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20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2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7.png"/><Relationship Id="rId4" Type="http://schemas.openxmlformats.org/officeDocument/2006/relationships/image" Target="../media/image24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9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85F184B-7A45-C949-B980-D29A2B6FD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DF0D78-7237-CC49-93BC-EC074FFED2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EA4FDC7-72CD-784D-9C11-47862713BB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9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138966D-1F3D-0344-9C02-3EEFCDE894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BE6EBC1-E695-204F-98E3-E9C5BD31E0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3550891-D39A-A143-898C-7E50563D7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Picture 3" descr="Logo, icon&#10;&#10;Description automatically generated">
            <a:extLst>
              <a:ext uri="{FF2B5EF4-FFF2-40B4-BE49-F238E27FC236}">
                <a16:creationId xmlns:a16="http://schemas.microsoft.com/office/drawing/2014/main" id="{FCF019C9-D671-B74B-A0EB-E5982E90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A6EF60F-DAA2-274A-B1D7-50C259B56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03CAAF-D452-564D-9236-B03691D6D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2CA64D6-177B-5D4B-8F00-7E0C166F89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CD297A-0016-5148-89C8-7754DCB3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243867B-45ED-D74E-A72A-1D25712F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FF98DFB-CAAE-7840-A87F-31B1C0E8EB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AA3290-62EB-4747-B24D-6AF0864E9D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2A3B4A8-6FC2-2347-9FEF-C4905B117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376BE6D-46AC-594A-874A-D02C912E2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B08654A9-524A-2A45-A387-B1D3579C47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A0B344E-CE26-794F-BD77-4E847AAA33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6C52706E-14A9-5C4D-854E-25F178F7DA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9043CB37-909C-0C4A-9439-412EE23285D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D6A4802-38CB-5741-8B5A-ED274E6A04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704550B-0543-9445-9114-18584FD1BA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DCB4F15-4A35-4345-8287-7BA8F7E0814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86926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585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9F1067A-393F-C14C-A7D1-2C519C0729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49441A-6793-7340-9C48-FCF8506D5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756906" y="0"/>
            <a:ext cx="76913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 userDrawn="1"/>
        </p:nvSpPr>
        <p:spPr>
          <a:xfrm>
            <a:off x="11482918" y="101600"/>
            <a:ext cx="575733" cy="431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/>
          </a:p>
        </p:txBody>
      </p:sp>
      <p:sp>
        <p:nvSpPr>
          <p:cNvPr id="3" name="Rectangle 2"/>
          <p:cNvSpPr/>
          <p:nvPr userDrawn="1"/>
        </p:nvSpPr>
        <p:spPr>
          <a:xfrm>
            <a:off x="3996267" y="6291264"/>
            <a:ext cx="4197351" cy="60888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hangingPunct="1"/>
            <a:r>
              <a:rPr lang="id-ID" sz="900">
                <a:solidFill>
                  <a:schemeClr val="accent1"/>
                </a:solidFill>
              </a:rPr>
              <a:t>www.YourCompany.com</a:t>
            </a:r>
          </a:p>
          <a:p>
            <a:pPr algn="ctr" eaLnBrk="1" hangingPunct="1"/>
            <a:r>
              <a:rPr lang="en-US" sz="700">
                <a:solidFill>
                  <a:schemeClr val="tx2"/>
                </a:solidFill>
              </a:rPr>
              <a:t>© 2020 Companyname </a:t>
            </a:r>
            <a:r>
              <a:rPr lang="id-ID" sz="700">
                <a:solidFill>
                  <a:schemeClr val="tx2"/>
                </a:solidFill>
              </a:rPr>
              <a:t>PowerPoint Business </a:t>
            </a:r>
            <a:r>
              <a:rPr lang="en-US" sz="700">
                <a:solidFill>
                  <a:schemeClr val="tx2"/>
                </a:solidFill>
              </a:rPr>
              <a:t>Theme. All Rights Reserved. </a:t>
            </a:r>
            <a:endParaRPr lang="id-ID" sz="700">
              <a:solidFill>
                <a:schemeClr val="tx2"/>
              </a:solidFill>
            </a:endParaRP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D3A020A-303C-0845-A2C5-5EDA8AEFA45E}" type="datetime1">
              <a:rPr lang="id-ID"/>
              <a:pPr/>
              <a:t>10/12/2024</a:t>
            </a:fld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370733" y="134939"/>
            <a:ext cx="821267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fld id="{EFD44761-05DF-2E43-B9F8-0B441F85CDD5}" type="slidenum">
              <a:rPr lang="id-ID"/>
              <a:pPr/>
              <a:t>‹Nº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04082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385FAF-A031-8440-8C16-F780239B6EE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14E8690-B5CB-FD43-A144-8D7A82542A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07FA554-FA57-934C-8095-E755D9B39B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4" imgW="7772400" imgH="10058400" progId="TCLayout.ActiveDocument.1">
                  <p:embed/>
                </p:oleObj>
              </mc:Choice>
              <mc:Fallback>
                <p:oleObj name="Diapositiva de think-cell" r:id="rId5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8" r:id="rId4"/>
    <p:sldLayoutId id="2147483729" r:id="rId5"/>
    <p:sldLayoutId id="2147483730" r:id="rId6"/>
    <p:sldLayoutId id="2147483697" r:id="rId7"/>
    <p:sldLayoutId id="2147483693" r:id="rId8"/>
    <p:sldLayoutId id="2147483713" r:id="rId9"/>
    <p:sldLayoutId id="2147483688" r:id="rId10"/>
    <p:sldLayoutId id="2147483734" r:id="rId11"/>
    <p:sldLayoutId id="2147483691" r:id="rId12"/>
    <p:sldLayoutId id="2147483732" r:id="rId13"/>
    <p:sldLayoutId id="2147483733" r:id="rId14"/>
    <p:sldLayoutId id="2147483669" r:id="rId15"/>
    <p:sldLayoutId id="2147483670" r:id="rId16"/>
    <p:sldLayoutId id="2147483731" r:id="rId17"/>
    <p:sldLayoutId id="2147483671" r:id="rId18"/>
    <p:sldLayoutId id="2147483679" r:id="rId19"/>
    <p:sldLayoutId id="2147483674" r:id="rId20"/>
    <p:sldLayoutId id="2147483698" r:id="rId21"/>
    <p:sldLayoutId id="2147483709" r:id="rId22"/>
    <p:sldLayoutId id="2147483673" r:id="rId23"/>
    <p:sldLayoutId id="2147483694" r:id="rId24"/>
    <p:sldLayoutId id="2147483675" r:id="rId25"/>
    <p:sldLayoutId id="2147483676" r:id="rId26"/>
    <p:sldLayoutId id="2147483678" r:id="rId27"/>
    <p:sldLayoutId id="2147483677" r:id="rId28"/>
    <p:sldLayoutId id="2147483680" r:id="rId29"/>
    <p:sldLayoutId id="2147483681" r:id="rId30"/>
    <p:sldLayoutId id="2147483695" r:id="rId31"/>
    <p:sldLayoutId id="2147483718" r:id="rId32"/>
    <p:sldLayoutId id="2147483682" r:id="rId33"/>
    <p:sldLayoutId id="2147483685" r:id="rId34"/>
    <p:sldLayoutId id="2147483686" r:id="rId35"/>
    <p:sldLayoutId id="2147483689" r:id="rId36"/>
    <p:sldLayoutId id="2147483690" r:id="rId37"/>
    <p:sldLayoutId id="2147483719" r:id="rId38"/>
    <p:sldLayoutId id="2147483735" r:id="rId39"/>
    <p:sldLayoutId id="2147483715" r:id="rId40"/>
    <p:sldLayoutId id="2147483720" r:id="rId41"/>
    <p:sldLayoutId id="2147483723" r:id="rId42"/>
    <p:sldLayoutId id="2147483725" r:id="rId43"/>
    <p:sldLayoutId id="2147483724" r:id="rId44"/>
    <p:sldLayoutId id="2147483722" r:id="rId45"/>
    <p:sldLayoutId id="2147483721" r:id="rId46"/>
    <p:sldLayoutId id="2147483716" r:id="rId47"/>
    <p:sldLayoutId id="2147483736" r:id="rId48"/>
    <p:sldLayoutId id="2147483706" r:id="rId49"/>
    <p:sldLayoutId id="2147483702" r:id="rId50"/>
    <p:sldLayoutId id="2147483737" r:id="rId51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jpeg"/><Relationship Id="rId11" Type="http://schemas.openxmlformats.org/officeDocument/2006/relationships/image" Target="../media/image61.png"/><Relationship Id="rId5" Type="http://schemas.openxmlformats.org/officeDocument/2006/relationships/image" Target="../media/image57.png"/><Relationship Id="rId10" Type="http://schemas.microsoft.com/office/2007/relationships/hdphoto" Target="../media/hdphoto3.wdp"/><Relationship Id="rId4" Type="http://schemas.openxmlformats.org/officeDocument/2006/relationships/image" Target="../media/image56.png"/><Relationship Id="rId9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svg"/><Relationship Id="rId7" Type="http://schemas.openxmlformats.org/officeDocument/2006/relationships/image" Target="../media/image67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11" Type="http://schemas.openxmlformats.org/officeDocument/2006/relationships/image" Target="../media/image71.svg"/><Relationship Id="rId5" Type="http://schemas.openxmlformats.org/officeDocument/2006/relationships/image" Target="../media/image65.sv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microsoft.com/office/2007/relationships/hdphoto" Target="../media/hdphoto1.wdp"/><Relationship Id="rId3" Type="http://schemas.openxmlformats.org/officeDocument/2006/relationships/oleObject" Target="../embeddings/oleObject30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43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42.png"/><Relationship Id="rId5" Type="http://schemas.openxmlformats.org/officeDocument/2006/relationships/diagramData" Target="../diagrams/data1.xml"/><Relationship Id="rId10" Type="http://schemas.openxmlformats.org/officeDocument/2006/relationships/image" Target="../media/image41.png"/><Relationship Id="rId4" Type="http://schemas.openxmlformats.org/officeDocument/2006/relationships/image" Target="../media/image40.emf"/><Relationship Id="rId9" Type="http://schemas.microsoft.com/office/2007/relationships/diagramDrawing" Target="../diagrams/drawin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4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991C4D-E3B5-7A06-6C05-27F6466872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14009" y="3421289"/>
            <a:ext cx="5320002" cy="504365"/>
          </a:xfrm>
        </p:spPr>
        <p:txBody>
          <a:bodyPr lIns="0" tIns="0" rIns="0" bIns="0" anchor="t"/>
          <a:lstStyle/>
          <a:p>
            <a:r>
              <a:rPr lang="es-PE" dirty="0">
                <a:solidFill>
                  <a:schemeClr val="bg1">
                    <a:lumMod val="75000"/>
                  </a:schemeClr>
                </a:solidFill>
              </a:rPr>
              <a:t>Automatización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para </a:t>
            </a:r>
            <a:r>
              <a:rPr lang="es-CL" dirty="0">
                <a:solidFill>
                  <a:schemeClr val="bg1">
                    <a:lumMod val="75000"/>
                  </a:schemeClr>
                </a:solidFill>
              </a:rPr>
              <a:t>detección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s-CL" dirty="0">
                <a:solidFill>
                  <a:schemeClr val="bg1">
                    <a:lumMod val="75000"/>
                  </a:schemeClr>
                </a:solidFill>
              </a:rPr>
              <a:t>temprana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de vulnerabilidad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88A22B-33C3-E2F4-9056-EC28413C37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14009" y="2996829"/>
            <a:ext cx="6484481" cy="432171"/>
          </a:xfrm>
        </p:spPr>
        <p:txBody>
          <a:bodyPr lIns="0" tIns="0" rIns="0" bIns="0" anchor="t"/>
          <a:lstStyle/>
          <a:p>
            <a:r>
              <a:rPr lang="es-MX" dirty="0">
                <a:latin typeface="Arial"/>
                <a:cs typeface="Arial"/>
              </a:rPr>
              <a:t>Robot Pentester V2.0</a:t>
            </a:r>
            <a:endParaRPr lang="en-US" dirty="0"/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8891565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354603" y="6183984"/>
            <a:ext cx="5734599" cy="647966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43903" y="773275"/>
            <a:ext cx="4350871" cy="5355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hangingPunct="1">
              <a:spcBef>
                <a:spcPts val="0"/>
              </a:spcBef>
              <a:defRPr/>
            </a:pPr>
            <a:r>
              <a:rPr lang="es-MX" sz="32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Roadmap 2024 - 2025</a:t>
            </a:r>
            <a:endParaRPr lang="id-ID" sz="32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33384" y="1192324"/>
            <a:ext cx="1914307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hangingPunct="1">
              <a:spcBef>
                <a:spcPts val="0"/>
              </a:spcBef>
              <a:defRPr/>
            </a:pPr>
            <a:r>
              <a:rPr lang="es-MX" sz="1400" b="1" dirty="0">
                <a:solidFill>
                  <a:schemeClr val="accent3"/>
                </a:solidFill>
              </a:rPr>
              <a:t>Hacia donde vamos </a:t>
            </a:r>
            <a:endParaRPr lang="id-ID" sz="1400" b="1" dirty="0">
              <a:solidFill>
                <a:schemeClr val="accent3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4716841" y="413187"/>
            <a:ext cx="1597025" cy="1467750"/>
            <a:chOff x="5314502" y="537541"/>
            <a:chExt cx="1425895" cy="1376617"/>
          </a:xfrm>
        </p:grpSpPr>
        <p:grpSp>
          <p:nvGrpSpPr>
            <p:cNvPr id="221262" name="Group 6"/>
            <p:cNvGrpSpPr>
              <a:grpSpLocks/>
            </p:cNvGrpSpPr>
            <p:nvPr/>
          </p:nvGrpSpPr>
          <p:grpSpPr bwMode="auto">
            <a:xfrm>
              <a:off x="5314502" y="537541"/>
              <a:ext cx="616898" cy="398711"/>
              <a:chOff x="7324056" y="694593"/>
              <a:chExt cx="616898" cy="398711"/>
            </a:xfrm>
          </p:grpSpPr>
          <p:sp>
            <p:nvSpPr>
              <p:cNvPr id="12" name="Freeform 23"/>
              <p:cNvSpPr>
                <a:spLocks/>
              </p:cNvSpPr>
              <p:nvPr/>
            </p:nvSpPr>
            <p:spPr bwMode="auto">
              <a:xfrm>
                <a:off x="7398210" y="878849"/>
                <a:ext cx="256365" cy="213904"/>
              </a:xfrm>
              <a:custGeom>
                <a:avLst/>
                <a:gdLst>
                  <a:gd name="T0" fmla="*/ 570 w 570"/>
                  <a:gd name="T1" fmla="*/ 476 h 476"/>
                  <a:gd name="T2" fmla="*/ 30 w 570"/>
                  <a:gd name="T3" fmla="*/ 0 h 476"/>
                  <a:gd name="T4" fmla="*/ 0 w 570"/>
                  <a:gd name="T5" fmla="*/ 36 h 476"/>
                  <a:gd name="T6" fmla="*/ 499 w 570"/>
                  <a:gd name="T7" fmla="*/ 476 h 476"/>
                  <a:gd name="T8" fmla="*/ 570 w 570"/>
                  <a:gd name="T9" fmla="*/ 476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476">
                    <a:moveTo>
                      <a:pt x="570" y="476"/>
                    </a:moveTo>
                    <a:lnTo>
                      <a:pt x="30" y="0"/>
                    </a:lnTo>
                    <a:lnTo>
                      <a:pt x="0" y="36"/>
                    </a:lnTo>
                    <a:lnTo>
                      <a:pt x="499" y="476"/>
                    </a:lnTo>
                    <a:lnTo>
                      <a:pt x="570" y="476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3" name="Freeform 25"/>
              <p:cNvSpPr>
                <a:spLocks/>
              </p:cNvSpPr>
              <p:nvPr/>
            </p:nvSpPr>
            <p:spPr bwMode="auto">
              <a:xfrm>
                <a:off x="7324056" y="694593"/>
                <a:ext cx="468236" cy="398160"/>
              </a:xfrm>
              <a:custGeom>
                <a:avLst/>
                <a:gdLst>
                  <a:gd name="T0" fmla="*/ 1037 w 1037"/>
                  <a:gd name="T1" fmla="*/ 883 h 883"/>
                  <a:gd name="T2" fmla="*/ 31 w 1037"/>
                  <a:gd name="T3" fmla="*/ 0 h 883"/>
                  <a:gd name="T4" fmla="*/ 0 w 1037"/>
                  <a:gd name="T5" fmla="*/ 35 h 883"/>
                  <a:gd name="T6" fmla="*/ 964 w 1037"/>
                  <a:gd name="T7" fmla="*/ 883 h 883"/>
                  <a:gd name="T8" fmla="*/ 1037 w 1037"/>
                  <a:gd name="T9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7" h="883">
                    <a:moveTo>
                      <a:pt x="1037" y="883"/>
                    </a:moveTo>
                    <a:lnTo>
                      <a:pt x="31" y="0"/>
                    </a:lnTo>
                    <a:lnTo>
                      <a:pt x="0" y="35"/>
                    </a:lnTo>
                    <a:lnTo>
                      <a:pt x="964" y="883"/>
                    </a:lnTo>
                    <a:lnTo>
                      <a:pt x="1037" y="883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7601607" y="806841"/>
                <a:ext cx="338995" cy="285912"/>
              </a:xfrm>
              <a:custGeom>
                <a:avLst/>
                <a:gdLst>
                  <a:gd name="T0" fmla="*/ 822 w 822"/>
                  <a:gd name="T1" fmla="*/ 694 h 694"/>
                  <a:gd name="T2" fmla="*/ 34 w 822"/>
                  <a:gd name="T3" fmla="*/ 0 h 694"/>
                  <a:gd name="T4" fmla="*/ 0 w 822"/>
                  <a:gd name="T5" fmla="*/ 36 h 694"/>
                  <a:gd name="T6" fmla="*/ 751 w 822"/>
                  <a:gd name="T7" fmla="*/ 694 h 694"/>
                  <a:gd name="T8" fmla="*/ 822 w 822"/>
                  <a:gd name="T9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2" h="694">
                    <a:moveTo>
                      <a:pt x="822" y="694"/>
                    </a:moveTo>
                    <a:lnTo>
                      <a:pt x="34" y="0"/>
                    </a:lnTo>
                    <a:lnTo>
                      <a:pt x="0" y="36"/>
                    </a:lnTo>
                    <a:lnTo>
                      <a:pt x="751" y="694"/>
                    </a:lnTo>
                    <a:lnTo>
                      <a:pt x="822" y="694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  <p:grpSp>
          <p:nvGrpSpPr>
            <p:cNvPr id="221263" name="Group 7"/>
            <p:cNvGrpSpPr>
              <a:grpSpLocks/>
            </p:cNvGrpSpPr>
            <p:nvPr/>
          </p:nvGrpSpPr>
          <p:grpSpPr bwMode="auto">
            <a:xfrm>
              <a:off x="6261313" y="1506868"/>
              <a:ext cx="479084" cy="407290"/>
              <a:chOff x="8086770" y="1485428"/>
              <a:chExt cx="479084" cy="407290"/>
            </a:xfrm>
          </p:grpSpPr>
          <p:sp>
            <p:nvSpPr>
              <p:cNvPr id="9" name="Freeform 24"/>
              <p:cNvSpPr>
                <a:spLocks/>
              </p:cNvSpPr>
              <p:nvPr/>
            </p:nvSpPr>
            <p:spPr bwMode="auto">
              <a:xfrm>
                <a:off x="8087025" y="1486087"/>
                <a:ext cx="478829" cy="406631"/>
              </a:xfrm>
              <a:custGeom>
                <a:avLst/>
                <a:gdLst>
                  <a:gd name="T0" fmla="*/ 0 w 1061"/>
                  <a:gd name="T1" fmla="*/ 0 h 902"/>
                  <a:gd name="T2" fmla="*/ 1028 w 1061"/>
                  <a:gd name="T3" fmla="*/ 902 h 902"/>
                  <a:gd name="T4" fmla="*/ 1061 w 1061"/>
                  <a:gd name="T5" fmla="*/ 866 h 902"/>
                  <a:gd name="T6" fmla="*/ 74 w 1061"/>
                  <a:gd name="T7" fmla="*/ 0 h 902"/>
                  <a:gd name="T8" fmla="*/ 0 w 1061"/>
                  <a:gd name="T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1" h="902">
                    <a:moveTo>
                      <a:pt x="0" y="0"/>
                    </a:moveTo>
                    <a:lnTo>
                      <a:pt x="1028" y="902"/>
                    </a:lnTo>
                    <a:lnTo>
                      <a:pt x="1061" y="866"/>
                    </a:lnTo>
                    <a:lnTo>
                      <a:pt x="7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0" name="Freeform 26"/>
              <p:cNvSpPr>
                <a:spLocks/>
              </p:cNvSpPr>
              <p:nvPr/>
            </p:nvSpPr>
            <p:spPr bwMode="auto">
              <a:xfrm>
                <a:off x="8222623" y="1486087"/>
                <a:ext cx="269077" cy="222377"/>
              </a:xfrm>
              <a:custGeom>
                <a:avLst/>
                <a:gdLst>
                  <a:gd name="T0" fmla="*/ 0 w 592"/>
                  <a:gd name="T1" fmla="*/ 0 h 495"/>
                  <a:gd name="T2" fmla="*/ 561 w 592"/>
                  <a:gd name="T3" fmla="*/ 495 h 495"/>
                  <a:gd name="T4" fmla="*/ 592 w 592"/>
                  <a:gd name="T5" fmla="*/ 459 h 495"/>
                  <a:gd name="T6" fmla="*/ 71 w 592"/>
                  <a:gd name="T7" fmla="*/ 0 h 495"/>
                  <a:gd name="T8" fmla="*/ 0 w 592"/>
                  <a:gd name="T9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95">
                    <a:moveTo>
                      <a:pt x="0" y="0"/>
                    </a:moveTo>
                    <a:lnTo>
                      <a:pt x="561" y="495"/>
                    </a:lnTo>
                    <a:lnTo>
                      <a:pt x="592" y="459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1" name="Freeform 28"/>
              <p:cNvSpPr>
                <a:spLocks/>
              </p:cNvSpPr>
              <p:nvPr/>
            </p:nvSpPr>
            <p:spPr bwMode="auto">
              <a:xfrm>
                <a:off x="8337033" y="1486087"/>
                <a:ext cx="171616" cy="139779"/>
              </a:xfrm>
              <a:custGeom>
                <a:avLst/>
                <a:gdLst>
                  <a:gd name="T0" fmla="*/ 0 w 415"/>
                  <a:gd name="T1" fmla="*/ 0 h 338"/>
                  <a:gd name="T2" fmla="*/ 384 w 415"/>
                  <a:gd name="T3" fmla="*/ 338 h 338"/>
                  <a:gd name="T4" fmla="*/ 415 w 415"/>
                  <a:gd name="T5" fmla="*/ 303 h 338"/>
                  <a:gd name="T6" fmla="*/ 71 w 415"/>
                  <a:gd name="T7" fmla="*/ 0 h 338"/>
                  <a:gd name="T8" fmla="*/ 0 w 41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338">
                    <a:moveTo>
                      <a:pt x="0" y="0"/>
                    </a:moveTo>
                    <a:lnTo>
                      <a:pt x="384" y="338"/>
                    </a:lnTo>
                    <a:lnTo>
                      <a:pt x="415" y="303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</p:grpSp>
      <p:sp>
        <p:nvSpPr>
          <p:cNvPr id="56" name="Oval 39"/>
          <p:cNvSpPr>
            <a:spLocks noChangeArrowheads="1"/>
          </p:cNvSpPr>
          <p:nvPr/>
        </p:nvSpPr>
        <p:spPr bwMode="auto">
          <a:xfrm>
            <a:off x="3895725" y="3327401"/>
            <a:ext cx="122238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58" name="Oval 41"/>
          <p:cNvSpPr>
            <a:spLocks noChangeArrowheads="1"/>
          </p:cNvSpPr>
          <p:nvPr/>
        </p:nvSpPr>
        <p:spPr bwMode="auto">
          <a:xfrm>
            <a:off x="8435976" y="3095626"/>
            <a:ext cx="123825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0" name="Oval 43"/>
          <p:cNvSpPr>
            <a:spLocks noChangeArrowheads="1"/>
          </p:cNvSpPr>
          <p:nvPr/>
        </p:nvSpPr>
        <p:spPr bwMode="auto">
          <a:xfrm>
            <a:off x="7781925" y="3300413"/>
            <a:ext cx="122238" cy="127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2" name="Oval 45"/>
          <p:cNvSpPr>
            <a:spLocks noChangeArrowheads="1"/>
          </p:cNvSpPr>
          <p:nvPr/>
        </p:nvSpPr>
        <p:spPr bwMode="auto">
          <a:xfrm>
            <a:off x="7131051" y="3238500"/>
            <a:ext cx="123825" cy="122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4" name="Oval 47"/>
          <p:cNvSpPr>
            <a:spLocks noChangeArrowheads="1"/>
          </p:cNvSpPr>
          <p:nvPr/>
        </p:nvSpPr>
        <p:spPr bwMode="auto">
          <a:xfrm>
            <a:off x="6480175" y="2860676"/>
            <a:ext cx="122238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5" name="Oval 48"/>
          <p:cNvSpPr>
            <a:spLocks noChangeArrowheads="1"/>
          </p:cNvSpPr>
          <p:nvPr/>
        </p:nvSpPr>
        <p:spPr bwMode="auto">
          <a:xfrm>
            <a:off x="5826126" y="3316289"/>
            <a:ext cx="125413" cy="1222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7" name="Oval 50"/>
          <p:cNvSpPr>
            <a:spLocks noChangeArrowheads="1"/>
          </p:cNvSpPr>
          <p:nvPr/>
        </p:nvSpPr>
        <p:spPr bwMode="auto">
          <a:xfrm>
            <a:off x="5173664" y="3238500"/>
            <a:ext cx="123825" cy="122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70" name="Oval 53"/>
          <p:cNvSpPr>
            <a:spLocks noChangeArrowheads="1"/>
          </p:cNvSpPr>
          <p:nvPr/>
        </p:nvSpPr>
        <p:spPr bwMode="auto">
          <a:xfrm>
            <a:off x="3217864" y="3508375"/>
            <a:ext cx="122237" cy="127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71" name="Oval 54"/>
          <p:cNvSpPr>
            <a:spLocks noChangeArrowheads="1"/>
          </p:cNvSpPr>
          <p:nvPr/>
        </p:nvSpPr>
        <p:spPr bwMode="auto">
          <a:xfrm>
            <a:off x="4522789" y="3870325"/>
            <a:ext cx="122237" cy="1285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grpSp>
        <p:nvGrpSpPr>
          <p:cNvPr id="82" name="Group 81"/>
          <p:cNvGrpSpPr>
            <a:grpSpLocks/>
          </p:cNvGrpSpPr>
          <p:nvPr/>
        </p:nvGrpSpPr>
        <p:grpSpPr bwMode="auto">
          <a:xfrm>
            <a:off x="3140076" y="2784475"/>
            <a:ext cx="5495925" cy="1290638"/>
            <a:chOff x="2432051" y="2568576"/>
            <a:chExt cx="7327900" cy="1720850"/>
          </a:xfrm>
        </p:grpSpPr>
        <p:sp>
          <p:nvSpPr>
            <p:cNvPr id="57" name="Freeform 40"/>
            <p:cNvSpPr>
              <a:spLocks noEditPoints="1"/>
            </p:cNvSpPr>
            <p:nvPr/>
          </p:nvSpPr>
          <p:spPr bwMode="auto">
            <a:xfrm>
              <a:off x="9391651" y="2881843"/>
              <a:ext cx="368300" cy="370417"/>
            </a:xfrm>
            <a:custGeom>
              <a:avLst/>
              <a:gdLst>
                <a:gd name="T0" fmla="*/ 60 w 72"/>
                <a:gd name="T1" fmla="*/ 36 h 72"/>
                <a:gd name="T2" fmla="*/ 36 w 72"/>
                <a:gd name="T3" fmla="*/ 60 h 72"/>
                <a:gd name="T4" fmla="*/ 12 w 72"/>
                <a:gd name="T5" fmla="*/ 36 h 72"/>
                <a:gd name="T6" fmla="*/ 36 w 72"/>
                <a:gd name="T7" fmla="*/ 12 h 72"/>
                <a:gd name="T8" fmla="*/ 60 w 72"/>
                <a:gd name="T9" fmla="*/ 36 h 72"/>
                <a:gd name="T10" fmla="*/ 36 w 72"/>
                <a:gd name="T11" fmla="*/ 0 h 72"/>
                <a:gd name="T12" fmla="*/ 0 w 72"/>
                <a:gd name="T13" fmla="*/ 36 h 72"/>
                <a:gd name="T14" fmla="*/ 36 w 72"/>
                <a:gd name="T15" fmla="*/ 72 h 72"/>
                <a:gd name="T16" fmla="*/ 72 w 72"/>
                <a:gd name="T17" fmla="*/ 36 h 72"/>
                <a:gd name="T18" fmla="*/ 36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0" y="36"/>
                  </a:moveTo>
                  <a:cubicBezTo>
                    <a:pt x="60" y="49"/>
                    <a:pt x="49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59" name="Freeform 42"/>
            <p:cNvSpPr>
              <a:spLocks noEditPoints="1"/>
            </p:cNvSpPr>
            <p:nvPr/>
          </p:nvSpPr>
          <p:spPr bwMode="auto">
            <a:xfrm>
              <a:off x="8519584" y="3154893"/>
              <a:ext cx="368300" cy="374649"/>
            </a:xfrm>
            <a:custGeom>
              <a:avLst/>
              <a:gdLst>
                <a:gd name="T0" fmla="*/ 60 w 72"/>
                <a:gd name="T1" fmla="*/ 37 h 73"/>
                <a:gd name="T2" fmla="*/ 36 w 72"/>
                <a:gd name="T3" fmla="*/ 61 h 73"/>
                <a:gd name="T4" fmla="*/ 12 w 72"/>
                <a:gd name="T5" fmla="*/ 37 h 73"/>
                <a:gd name="T6" fmla="*/ 36 w 72"/>
                <a:gd name="T7" fmla="*/ 13 h 73"/>
                <a:gd name="T8" fmla="*/ 60 w 72"/>
                <a:gd name="T9" fmla="*/ 37 h 73"/>
                <a:gd name="T10" fmla="*/ 36 w 72"/>
                <a:gd name="T11" fmla="*/ 0 h 73"/>
                <a:gd name="T12" fmla="*/ 0 w 72"/>
                <a:gd name="T13" fmla="*/ 37 h 73"/>
                <a:gd name="T14" fmla="*/ 36 w 72"/>
                <a:gd name="T15" fmla="*/ 73 h 73"/>
                <a:gd name="T16" fmla="*/ 72 w 72"/>
                <a:gd name="T17" fmla="*/ 37 h 73"/>
                <a:gd name="T18" fmla="*/ 36 w 72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60" y="37"/>
                  </a:moveTo>
                  <a:cubicBezTo>
                    <a:pt x="60" y="50"/>
                    <a:pt x="49" y="61"/>
                    <a:pt x="36" y="61"/>
                  </a:cubicBezTo>
                  <a:cubicBezTo>
                    <a:pt x="23" y="61"/>
                    <a:pt x="12" y="50"/>
                    <a:pt x="12" y="37"/>
                  </a:cubicBezTo>
                  <a:cubicBezTo>
                    <a:pt x="12" y="23"/>
                    <a:pt x="23" y="13"/>
                    <a:pt x="36" y="13"/>
                  </a:cubicBezTo>
                  <a:cubicBezTo>
                    <a:pt x="49" y="13"/>
                    <a:pt x="60" y="23"/>
                    <a:pt x="60" y="37"/>
                  </a:cubicBezTo>
                  <a:close/>
                  <a:moveTo>
                    <a:pt x="36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57"/>
                    <a:pt x="16" y="73"/>
                    <a:pt x="36" y="73"/>
                  </a:cubicBezTo>
                  <a:cubicBezTo>
                    <a:pt x="56" y="73"/>
                    <a:pt x="72" y="57"/>
                    <a:pt x="72" y="37"/>
                  </a:cubicBezTo>
                  <a:cubicBezTo>
                    <a:pt x="72" y="17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1" name="Freeform 44"/>
            <p:cNvSpPr>
              <a:spLocks noEditPoints="1"/>
            </p:cNvSpPr>
            <p:nvPr/>
          </p:nvSpPr>
          <p:spPr bwMode="auto">
            <a:xfrm>
              <a:off x="7649635" y="3072342"/>
              <a:ext cx="368300" cy="370417"/>
            </a:xfrm>
            <a:custGeom>
              <a:avLst/>
              <a:gdLst>
                <a:gd name="T0" fmla="*/ 60 w 72"/>
                <a:gd name="T1" fmla="*/ 36 h 72"/>
                <a:gd name="T2" fmla="*/ 36 w 72"/>
                <a:gd name="T3" fmla="*/ 60 h 72"/>
                <a:gd name="T4" fmla="*/ 12 w 72"/>
                <a:gd name="T5" fmla="*/ 36 h 72"/>
                <a:gd name="T6" fmla="*/ 36 w 72"/>
                <a:gd name="T7" fmla="*/ 12 h 72"/>
                <a:gd name="T8" fmla="*/ 60 w 72"/>
                <a:gd name="T9" fmla="*/ 36 h 72"/>
                <a:gd name="T10" fmla="*/ 36 w 72"/>
                <a:gd name="T11" fmla="*/ 0 h 72"/>
                <a:gd name="T12" fmla="*/ 0 w 72"/>
                <a:gd name="T13" fmla="*/ 36 h 72"/>
                <a:gd name="T14" fmla="*/ 36 w 72"/>
                <a:gd name="T15" fmla="*/ 72 h 72"/>
                <a:gd name="T16" fmla="*/ 72 w 72"/>
                <a:gd name="T17" fmla="*/ 36 h 72"/>
                <a:gd name="T18" fmla="*/ 36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0" y="36"/>
                  </a:moveTo>
                  <a:cubicBezTo>
                    <a:pt x="60" y="49"/>
                    <a:pt x="49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3" name="Freeform 46"/>
            <p:cNvSpPr>
              <a:spLocks noEditPoints="1"/>
            </p:cNvSpPr>
            <p:nvPr/>
          </p:nvSpPr>
          <p:spPr bwMode="auto">
            <a:xfrm>
              <a:off x="6783918" y="2568576"/>
              <a:ext cx="366184" cy="374651"/>
            </a:xfrm>
            <a:custGeom>
              <a:avLst/>
              <a:gdLst>
                <a:gd name="T0" fmla="*/ 60 w 72"/>
                <a:gd name="T1" fmla="*/ 36 h 73"/>
                <a:gd name="T2" fmla="*/ 36 w 72"/>
                <a:gd name="T3" fmla="*/ 60 h 73"/>
                <a:gd name="T4" fmla="*/ 12 w 72"/>
                <a:gd name="T5" fmla="*/ 36 h 73"/>
                <a:gd name="T6" fmla="*/ 36 w 72"/>
                <a:gd name="T7" fmla="*/ 12 h 73"/>
                <a:gd name="T8" fmla="*/ 60 w 72"/>
                <a:gd name="T9" fmla="*/ 36 h 73"/>
                <a:gd name="T10" fmla="*/ 36 w 72"/>
                <a:gd name="T11" fmla="*/ 0 h 73"/>
                <a:gd name="T12" fmla="*/ 0 w 72"/>
                <a:gd name="T13" fmla="*/ 36 h 73"/>
                <a:gd name="T14" fmla="*/ 36 w 72"/>
                <a:gd name="T15" fmla="*/ 73 h 73"/>
                <a:gd name="T16" fmla="*/ 72 w 72"/>
                <a:gd name="T17" fmla="*/ 36 h 73"/>
                <a:gd name="T18" fmla="*/ 36 w 72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60" y="36"/>
                  </a:moveTo>
                  <a:cubicBezTo>
                    <a:pt x="60" y="50"/>
                    <a:pt x="49" y="60"/>
                    <a:pt x="36" y="60"/>
                  </a:cubicBez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6" name="Freeform 49"/>
            <p:cNvSpPr>
              <a:spLocks noEditPoints="1"/>
            </p:cNvSpPr>
            <p:nvPr/>
          </p:nvSpPr>
          <p:spPr bwMode="auto">
            <a:xfrm>
              <a:off x="5041902" y="3072342"/>
              <a:ext cx="366183" cy="370417"/>
            </a:xfrm>
            <a:custGeom>
              <a:avLst/>
              <a:gdLst>
                <a:gd name="T0" fmla="*/ 36 w 72"/>
                <a:gd name="T1" fmla="*/ 0 h 72"/>
                <a:gd name="T2" fmla="*/ 0 w 72"/>
                <a:gd name="T3" fmla="*/ 36 h 72"/>
                <a:gd name="T4" fmla="*/ 36 w 72"/>
                <a:gd name="T5" fmla="*/ 72 h 72"/>
                <a:gd name="T6" fmla="*/ 72 w 72"/>
                <a:gd name="T7" fmla="*/ 36 h 72"/>
                <a:gd name="T8" fmla="*/ 36 w 72"/>
                <a:gd name="T9" fmla="*/ 0 h 72"/>
                <a:gd name="T10" fmla="*/ 36 w 72"/>
                <a:gd name="T11" fmla="*/ 60 h 72"/>
                <a:gd name="T12" fmla="*/ 12 w 72"/>
                <a:gd name="T13" fmla="*/ 36 h 72"/>
                <a:gd name="T14" fmla="*/ 36 w 72"/>
                <a:gd name="T15" fmla="*/ 12 h 72"/>
                <a:gd name="T16" fmla="*/ 60 w 72"/>
                <a:gd name="T17" fmla="*/ 36 h 72"/>
                <a:gd name="T18" fmla="*/ 36 w 72"/>
                <a:gd name="T19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49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8" name="Freeform 51"/>
            <p:cNvSpPr>
              <a:spLocks noEditPoints="1"/>
            </p:cNvSpPr>
            <p:nvPr/>
          </p:nvSpPr>
          <p:spPr bwMode="auto">
            <a:xfrm>
              <a:off x="3337984" y="3190876"/>
              <a:ext cx="366184" cy="374651"/>
            </a:xfrm>
            <a:custGeom>
              <a:avLst/>
              <a:gdLst>
                <a:gd name="T0" fmla="*/ 36 w 72"/>
                <a:gd name="T1" fmla="*/ 0 h 73"/>
                <a:gd name="T2" fmla="*/ 0 w 72"/>
                <a:gd name="T3" fmla="*/ 36 h 73"/>
                <a:gd name="T4" fmla="*/ 36 w 72"/>
                <a:gd name="T5" fmla="*/ 73 h 73"/>
                <a:gd name="T6" fmla="*/ 72 w 72"/>
                <a:gd name="T7" fmla="*/ 36 h 73"/>
                <a:gd name="T8" fmla="*/ 36 w 72"/>
                <a:gd name="T9" fmla="*/ 0 h 73"/>
                <a:gd name="T10" fmla="*/ 36 w 72"/>
                <a:gd name="T11" fmla="*/ 60 h 73"/>
                <a:gd name="T12" fmla="*/ 12 w 72"/>
                <a:gd name="T13" fmla="*/ 36 h 73"/>
                <a:gd name="T14" fmla="*/ 36 w 72"/>
                <a:gd name="T15" fmla="*/ 12 h 73"/>
                <a:gd name="T16" fmla="*/ 60 w 72"/>
                <a:gd name="T17" fmla="*/ 36 h 73"/>
                <a:gd name="T18" fmla="*/ 36 w 72"/>
                <a:gd name="T19" fmla="*/ 6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50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9" name="Freeform 52"/>
            <p:cNvSpPr>
              <a:spLocks noEditPoints="1"/>
            </p:cNvSpPr>
            <p:nvPr/>
          </p:nvSpPr>
          <p:spPr bwMode="auto">
            <a:xfrm>
              <a:off x="2432051" y="3432176"/>
              <a:ext cx="368300" cy="374651"/>
            </a:xfrm>
            <a:custGeom>
              <a:avLst/>
              <a:gdLst>
                <a:gd name="T0" fmla="*/ 36 w 72"/>
                <a:gd name="T1" fmla="*/ 0 h 73"/>
                <a:gd name="T2" fmla="*/ 0 w 72"/>
                <a:gd name="T3" fmla="*/ 36 h 73"/>
                <a:gd name="T4" fmla="*/ 36 w 72"/>
                <a:gd name="T5" fmla="*/ 73 h 73"/>
                <a:gd name="T6" fmla="*/ 72 w 72"/>
                <a:gd name="T7" fmla="*/ 36 h 73"/>
                <a:gd name="T8" fmla="*/ 36 w 72"/>
                <a:gd name="T9" fmla="*/ 0 h 73"/>
                <a:gd name="T10" fmla="*/ 36 w 72"/>
                <a:gd name="T11" fmla="*/ 60 h 73"/>
                <a:gd name="T12" fmla="*/ 12 w 72"/>
                <a:gd name="T13" fmla="*/ 36 h 73"/>
                <a:gd name="T14" fmla="*/ 36 w 72"/>
                <a:gd name="T15" fmla="*/ 12 h 73"/>
                <a:gd name="T16" fmla="*/ 60 w 72"/>
                <a:gd name="T17" fmla="*/ 36 h 73"/>
                <a:gd name="T18" fmla="*/ 36 w 72"/>
                <a:gd name="T19" fmla="*/ 6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50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2" name="Freeform 55"/>
            <p:cNvSpPr>
              <a:spLocks/>
            </p:cNvSpPr>
            <p:nvPr/>
          </p:nvSpPr>
          <p:spPr bwMode="auto">
            <a:xfrm>
              <a:off x="2785535" y="3396193"/>
              <a:ext cx="565149" cy="205316"/>
            </a:xfrm>
            <a:custGeom>
              <a:avLst/>
              <a:gdLst>
                <a:gd name="T0" fmla="*/ 108 w 111"/>
                <a:gd name="T1" fmla="*/ 0 h 40"/>
                <a:gd name="T2" fmla="*/ 0 w 111"/>
                <a:gd name="T3" fmla="*/ 28 h 40"/>
                <a:gd name="T4" fmla="*/ 3 w 111"/>
                <a:gd name="T5" fmla="*/ 40 h 40"/>
                <a:gd name="T6" fmla="*/ 111 w 111"/>
                <a:gd name="T7" fmla="*/ 11 h 40"/>
                <a:gd name="T8" fmla="*/ 108 w 11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40">
                  <a:moveTo>
                    <a:pt x="108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" y="32"/>
                    <a:pt x="3" y="36"/>
                    <a:pt x="3" y="40"/>
                  </a:cubicBezTo>
                  <a:cubicBezTo>
                    <a:pt x="111" y="11"/>
                    <a:pt x="111" y="11"/>
                    <a:pt x="111" y="11"/>
                  </a:cubicBezTo>
                  <a:cubicBezTo>
                    <a:pt x="109" y="8"/>
                    <a:pt x="108" y="4"/>
                    <a:pt x="10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3" name="Freeform 56"/>
            <p:cNvSpPr>
              <a:spLocks noEditPoints="1"/>
            </p:cNvSpPr>
            <p:nvPr/>
          </p:nvSpPr>
          <p:spPr bwMode="auto">
            <a:xfrm>
              <a:off x="4169835" y="3914775"/>
              <a:ext cx="372533" cy="374651"/>
            </a:xfrm>
            <a:custGeom>
              <a:avLst/>
              <a:gdLst>
                <a:gd name="T0" fmla="*/ 37 w 73"/>
                <a:gd name="T1" fmla="*/ 0 h 73"/>
                <a:gd name="T2" fmla="*/ 0 w 73"/>
                <a:gd name="T3" fmla="*/ 37 h 73"/>
                <a:gd name="T4" fmla="*/ 37 w 73"/>
                <a:gd name="T5" fmla="*/ 73 h 73"/>
                <a:gd name="T6" fmla="*/ 73 w 73"/>
                <a:gd name="T7" fmla="*/ 37 h 73"/>
                <a:gd name="T8" fmla="*/ 37 w 73"/>
                <a:gd name="T9" fmla="*/ 0 h 73"/>
                <a:gd name="T10" fmla="*/ 37 w 73"/>
                <a:gd name="T11" fmla="*/ 61 h 73"/>
                <a:gd name="T12" fmla="*/ 13 w 73"/>
                <a:gd name="T13" fmla="*/ 37 h 73"/>
                <a:gd name="T14" fmla="*/ 37 w 73"/>
                <a:gd name="T15" fmla="*/ 13 h 73"/>
                <a:gd name="T16" fmla="*/ 61 w 73"/>
                <a:gd name="T17" fmla="*/ 37 h 73"/>
                <a:gd name="T18" fmla="*/ 37 w 73"/>
                <a:gd name="T19" fmla="*/ 6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cubicBezTo>
                    <a:pt x="17" y="0"/>
                    <a:pt x="0" y="17"/>
                    <a:pt x="0" y="37"/>
                  </a:cubicBezTo>
                  <a:cubicBezTo>
                    <a:pt x="0" y="57"/>
                    <a:pt x="17" y="73"/>
                    <a:pt x="37" y="73"/>
                  </a:cubicBezTo>
                  <a:cubicBezTo>
                    <a:pt x="57" y="73"/>
                    <a:pt x="73" y="57"/>
                    <a:pt x="73" y="37"/>
                  </a:cubicBezTo>
                  <a:cubicBezTo>
                    <a:pt x="73" y="17"/>
                    <a:pt x="57" y="0"/>
                    <a:pt x="37" y="0"/>
                  </a:cubicBezTo>
                  <a:close/>
                  <a:moveTo>
                    <a:pt x="37" y="61"/>
                  </a:moveTo>
                  <a:cubicBezTo>
                    <a:pt x="23" y="61"/>
                    <a:pt x="13" y="50"/>
                    <a:pt x="13" y="37"/>
                  </a:cubicBezTo>
                  <a:cubicBezTo>
                    <a:pt x="13" y="23"/>
                    <a:pt x="23" y="13"/>
                    <a:pt x="37" y="13"/>
                  </a:cubicBezTo>
                  <a:cubicBezTo>
                    <a:pt x="50" y="13"/>
                    <a:pt x="61" y="23"/>
                    <a:pt x="61" y="37"/>
                  </a:cubicBezTo>
                  <a:cubicBezTo>
                    <a:pt x="61" y="50"/>
                    <a:pt x="50" y="61"/>
                    <a:pt x="37" y="6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4" name="Freeform 57"/>
            <p:cNvSpPr>
              <a:spLocks/>
            </p:cNvSpPr>
            <p:nvPr/>
          </p:nvSpPr>
          <p:spPr bwMode="auto">
            <a:xfrm>
              <a:off x="3636435" y="3474509"/>
              <a:ext cx="603249" cy="533400"/>
            </a:xfrm>
            <a:custGeom>
              <a:avLst/>
              <a:gdLst>
                <a:gd name="T0" fmla="*/ 118 w 118"/>
                <a:gd name="T1" fmla="*/ 95 h 104"/>
                <a:gd name="T2" fmla="*/ 8 w 118"/>
                <a:gd name="T3" fmla="*/ 0 h 104"/>
                <a:gd name="T4" fmla="*/ 0 w 118"/>
                <a:gd name="T5" fmla="*/ 9 h 104"/>
                <a:gd name="T6" fmla="*/ 110 w 118"/>
                <a:gd name="T7" fmla="*/ 104 h 104"/>
                <a:gd name="T8" fmla="*/ 118 w 118"/>
                <a:gd name="T9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04">
                  <a:moveTo>
                    <a:pt x="118" y="95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4"/>
                    <a:pt x="3" y="7"/>
                    <a:pt x="0" y="9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2" y="100"/>
                    <a:pt x="114" y="97"/>
                    <a:pt x="118" y="9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5" name="Freeform 58"/>
            <p:cNvSpPr>
              <a:spLocks/>
            </p:cNvSpPr>
            <p:nvPr/>
          </p:nvSpPr>
          <p:spPr bwMode="auto">
            <a:xfrm>
              <a:off x="4464051" y="3360209"/>
              <a:ext cx="654051" cy="637117"/>
            </a:xfrm>
            <a:custGeom>
              <a:avLst/>
              <a:gdLst>
                <a:gd name="T0" fmla="*/ 119 w 128"/>
                <a:gd name="T1" fmla="*/ 0 h 124"/>
                <a:gd name="T2" fmla="*/ 0 w 128"/>
                <a:gd name="T3" fmla="*/ 115 h 124"/>
                <a:gd name="T4" fmla="*/ 9 w 128"/>
                <a:gd name="T5" fmla="*/ 124 h 124"/>
                <a:gd name="T6" fmla="*/ 128 w 128"/>
                <a:gd name="T7" fmla="*/ 9 h 124"/>
                <a:gd name="T8" fmla="*/ 119 w 128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4">
                  <a:moveTo>
                    <a:pt x="119" y="0"/>
                  </a:moveTo>
                  <a:cubicBezTo>
                    <a:pt x="0" y="115"/>
                    <a:pt x="0" y="115"/>
                    <a:pt x="0" y="115"/>
                  </a:cubicBezTo>
                  <a:cubicBezTo>
                    <a:pt x="3" y="118"/>
                    <a:pt x="6" y="121"/>
                    <a:pt x="9" y="124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4" y="7"/>
                    <a:pt x="121" y="4"/>
                    <a:pt x="119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6" name="Freeform 59"/>
            <p:cNvSpPr>
              <a:spLocks noEditPoints="1"/>
            </p:cNvSpPr>
            <p:nvPr/>
          </p:nvSpPr>
          <p:spPr bwMode="auto">
            <a:xfrm>
              <a:off x="5909735" y="3176060"/>
              <a:ext cx="372533" cy="368300"/>
            </a:xfrm>
            <a:custGeom>
              <a:avLst/>
              <a:gdLst>
                <a:gd name="T0" fmla="*/ 61 w 73"/>
                <a:gd name="T1" fmla="*/ 36 h 72"/>
                <a:gd name="T2" fmla="*/ 36 w 73"/>
                <a:gd name="T3" fmla="*/ 60 h 72"/>
                <a:gd name="T4" fmla="*/ 12 w 73"/>
                <a:gd name="T5" fmla="*/ 36 h 72"/>
                <a:gd name="T6" fmla="*/ 36 w 73"/>
                <a:gd name="T7" fmla="*/ 12 h 72"/>
                <a:gd name="T8" fmla="*/ 61 w 73"/>
                <a:gd name="T9" fmla="*/ 36 h 72"/>
                <a:gd name="T10" fmla="*/ 36 w 73"/>
                <a:gd name="T11" fmla="*/ 0 h 72"/>
                <a:gd name="T12" fmla="*/ 0 w 73"/>
                <a:gd name="T13" fmla="*/ 36 h 72"/>
                <a:gd name="T14" fmla="*/ 36 w 73"/>
                <a:gd name="T15" fmla="*/ 72 h 72"/>
                <a:gd name="T16" fmla="*/ 73 w 73"/>
                <a:gd name="T17" fmla="*/ 36 h 72"/>
                <a:gd name="T18" fmla="*/ 36 w 73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2">
                  <a:moveTo>
                    <a:pt x="61" y="36"/>
                  </a:moveTo>
                  <a:cubicBezTo>
                    <a:pt x="61" y="49"/>
                    <a:pt x="50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50" y="12"/>
                    <a:pt x="61" y="23"/>
                    <a:pt x="61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3" y="56"/>
                    <a:pt x="73" y="36"/>
                  </a:cubicBezTo>
                  <a:cubicBezTo>
                    <a:pt x="73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7" name="Freeform 60"/>
            <p:cNvSpPr>
              <a:spLocks/>
            </p:cNvSpPr>
            <p:nvPr/>
          </p:nvSpPr>
          <p:spPr bwMode="auto">
            <a:xfrm>
              <a:off x="5403851" y="3245909"/>
              <a:ext cx="516467" cy="124884"/>
            </a:xfrm>
            <a:custGeom>
              <a:avLst/>
              <a:gdLst>
                <a:gd name="T0" fmla="*/ 99 w 101"/>
                <a:gd name="T1" fmla="*/ 24 h 24"/>
                <a:gd name="T2" fmla="*/ 99 w 101"/>
                <a:gd name="T3" fmla="*/ 22 h 24"/>
                <a:gd name="T4" fmla="*/ 101 w 101"/>
                <a:gd name="T5" fmla="*/ 12 h 24"/>
                <a:gd name="T6" fmla="*/ 1 w 101"/>
                <a:gd name="T7" fmla="*/ 0 h 24"/>
                <a:gd name="T8" fmla="*/ 1 w 101"/>
                <a:gd name="T9" fmla="*/ 2 h 24"/>
                <a:gd name="T10" fmla="*/ 0 w 101"/>
                <a:gd name="T11" fmla="*/ 12 h 24"/>
                <a:gd name="T12" fmla="*/ 99 w 10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24">
                  <a:moveTo>
                    <a:pt x="99" y="24"/>
                  </a:moveTo>
                  <a:cubicBezTo>
                    <a:pt x="99" y="23"/>
                    <a:pt x="99" y="23"/>
                    <a:pt x="99" y="22"/>
                  </a:cubicBezTo>
                  <a:cubicBezTo>
                    <a:pt x="99" y="18"/>
                    <a:pt x="100" y="15"/>
                    <a:pt x="101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5"/>
                    <a:pt x="1" y="9"/>
                    <a:pt x="0" y="12"/>
                  </a:cubicBezTo>
                  <a:lnTo>
                    <a:pt x="99" y="2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8" name="Freeform 61"/>
            <p:cNvSpPr>
              <a:spLocks/>
            </p:cNvSpPr>
            <p:nvPr/>
          </p:nvSpPr>
          <p:spPr bwMode="auto">
            <a:xfrm>
              <a:off x="6227235" y="2814109"/>
              <a:ext cx="632883" cy="469900"/>
            </a:xfrm>
            <a:custGeom>
              <a:avLst/>
              <a:gdLst>
                <a:gd name="T0" fmla="*/ 117 w 124"/>
                <a:gd name="T1" fmla="*/ 0 h 91"/>
                <a:gd name="T2" fmla="*/ 0 w 124"/>
                <a:gd name="T3" fmla="*/ 81 h 91"/>
                <a:gd name="T4" fmla="*/ 7 w 124"/>
                <a:gd name="T5" fmla="*/ 91 h 91"/>
                <a:gd name="T6" fmla="*/ 124 w 124"/>
                <a:gd name="T7" fmla="*/ 10 h 91"/>
                <a:gd name="T8" fmla="*/ 117 w 124"/>
                <a:gd name="T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91">
                  <a:moveTo>
                    <a:pt x="117" y="0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3" y="84"/>
                    <a:pt x="6" y="87"/>
                    <a:pt x="7" y="91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1" y="7"/>
                    <a:pt x="119" y="4"/>
                    <a:pt x="117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9" name="Freeform 62"/>
            <p:cNvSpPr>
              <a:spLocks/>
            </p:cNvSpPr>
            <p:nvPr/>
          </p:nvSpPr>
          <p:spPr bwMode="auto">
            <a:xfrm>
              <a:off x="7078135" y="2805643"/>
              <a:ext cx="643467" cy="400051"/>
            </a:xfrm>
            <a:custGeom>
              <a:avLst/>
              <a:gdLst>
                <a:gd name="T0" fmla="*/ 126 w 126"/>
                <a:gd name="T1" fmla="*/ 68 h 78"/>
                <a:gd name="T2" fmla="*/ 6 w 126"/>
                <a:gd name="T3" fmla="*/ 0 h 78"/>
                <a:gd name="T4" fmla="*/ 0 w 126"/>
                <a:gd name="T5" fmla="*/ 10 h 78"/>
                <a:gd name="T6" fmla="*/ 120 w 126"/>
                <a:gd name="T7" fmla="*/ 78 h 78"/>
                <a:gd name="T8" fmla="*/ 126 w 126"/>
                <a:gd name="T9" fmla="*/ 6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78">
                  <a:moveTo>
                    <a:pt x="126" y="68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5" y="4"/>
                    <a:pt x="3" y="7"/>
                    <a:pt x="0" y="10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1" y="74"/>
                    <a:pt x="123" y="71"/>
                    <a:pt x="126" y="6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0" name="Freeform 63"/>
            <p:cNvSpPr>
              <a:spLocks/>
            </p:cNvSpPr>
            <p:nvPr/>
          </p:nvSpPr>
          <p:spPr bwMode="auto">
            <a:xfrm>
              <a:off x="7981951" y="3241676"/>
              <a:ext cx="573617" cy="118533"/>
            </a:xfrm>
            <a:custGeom>
              <a:avLst/>
              <a:gdLst>
                <a:gd name="T0" fmla="*/ 111 w 112"/>
                <a:gd name="T1" fmla="*/ 23 h 23"/>
                <a:gd name="T2" fmla="*/ 111 w 112"/>
                <a:gd name="T3" fmla="*/ 20 h 23"/>
                <a:gd name="T4" fmla="*/ 112 w 112"/>
                <a:gd name="T5" fmla="*/ 11 h 23"/>
                <a:gd name="T6" fmla="*/ 1 w 112"/>
                <a:gd name="T7" fmla="*/ 0 h 23"/>
                <a:gd name="T8" fmla="*/ 1 w 112"/>
                <a:gd name="T9" fmla="*/ 3 h 23"/>
                <a:gd name="T10" fmla="*/ 0 w 112"/>
                <a:gd name="T11" fmla="*/ 12 h 23"/>
                <a:gd name="T12" fmla="*/ 111 w 112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3">
                  <a:moveTo>
                    <a:pt x="111" y="23"/>
                  </a:moveTo>
                  <a:cubicBezTo>
                    <a:pt x="111" y="22"/>
                    <a:pt x="111" y="21"/>
                    <a:pt x="111" y="20"/>
                  </a:cubicBezTo>
                  <a:cubicBezTo>
                    <a:pt x="111" y="16"/>
                    <a:pt x="111" y="13"/>
                    <a:pt x="112" y="1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6"/>
                    <a:pt x="1" y="9"/>
                    <a:pt x="0" y="12"/>
                  </a:cubicBezTo>
                  <a:lnTo>
                    <a:pt x="111" y="2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1" name="Freeform 64"/>
            <p:cNvSpPr>
              <a:spLocks/>
            </p:cNvSpPr>
            <p:nvPr/>
          </p:nvSpPr>
          <p:spPr bwMode="auto">
            <a:xfrm>
              <a:off x="8837084" y="3082926"/>
              <a:ext cx="605367" cy="245533"/>
            </a:xfrm>
            <a:custGeom>
              <a:avLst/>
              <a:gdLst>
                <a:gd name="T0" fmla="*/ 115 w 119"/>
                <a:gd name="T1" fmla="*/ 0 h 48"/>
                <a:gd name="T2" fmla="*/ 0 w 119"/>
                <a:gd name="T3" fmla="*/ 36 h 48"/>
                <a:gd name="T4" fmla="*/ 4 w 119"/>
                <a:gd name="T5" fmla="*/ 48 h 48"/>
                <a:gd name="T6" fmla="*/ 119 w 119"/>
                <a:gd name="T7" fmla="*/ 11 h 48"/>
                <a:gd name="T8" fmla="*/ 115 w 119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48">
                  <a:moveTo>
                    <a:pt x="11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" y="39"/>
                    <a:pt x="3" y="43"/>
                    <a:pt x="4" y="48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7" y="8"/>
                    <a:pt x="115" y="4"/>
                    <a:pt x="115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2993090" y="2264481"/>
            <a:ext cx="1048685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Definición</a:t>
            </a:r>
            <a:endParaRPr lang="id-ID" sz="1400" b="1" dirty="0">
              <a:latin typeface="+mj-lt"/>
            </a:endParaRPr>
          </a:p>
        </p:txBody>
      </p:sp>
      <p:sp>
        <p:nvSpPr>
          <p:cNvPr id="85" name="Rectangle 84"/>
          <p:cNvSpPr>
            <a:spLocks noChangeArrowheads="1"/>
          </p:cNvSpPr>
          <p:nvPr/>
        </p:nvSpPr>
        <p:spPr bwMode="auto">
          <a:xfrm>
            <a:off x="2625055" y="2582423"/>
            <a:ext cx="1212851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n-GB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Kick-Off</a:t>
            </a:r>
            <a:endParaRPr lang="en-GB" sz="9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2928938" y="2525500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 flipH="1" flipV="1">
            <a:off x="2782840" y="2849382"/>
            <a:ext cx="469948" cy="67963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cxnSpLocks/>
            <a:endCxn id="56" idx="3"/>
          </p:cNvCxnSpPr>
          <p:nvPr/>
        </p:nvCxnSpPr>
        <p:spPr>
          <a:xfrm flipV="1">
            <a:off x="3562450" y="3433092"/>
            <a:ext cx="351176" cy="55516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2109599" y="4157055"/>
            <a:ext cx="990977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hangingPunct="1">
              <a:spcBef>
                <a:spcPts val="0"/>
              </a:spcBef>
              <a:defRPr sz="1050" b="1">
                <a:latin typeface="+mj-lt"/>
              </a:defRPr>
            </a:lvl1pPr>
          </a:lstStyle>
          <a:p>
            <a:r>
              <a:rPr lang="id-ID" sz="1400" dirty="0"/>
              <a:t>Research</a:t>
            </a:r>
            <a:endParaRPr lang="id-ID" dirty="0"/>
          </a:p>
        </p:txBody>
      </p:sp>
      <p:sp>
        <p:nvSpPr>
          <p:cNvPr id="97" name="Rectangle 96"/>
          <p:cNvSpPr>
            <a:spLocks noChangeArrowheads="1"/>
          </p:cNvSpPr>
          <p:nvPr/>
        </p:nvSpPr>
        <p:spPr bwMode="auto">
          <a:xfrm>
            <a:off x="924897" y="4494071"/>
            <a:ext cx="2173897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Investigación de mercado, tecnologías open source y normas de ciberseguridad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8" name="Straight Connector 97"/>
          <p:cNvCxnSpPr>
            <a:cxnSpLocks/>
          </p:cNvCxnSpPr>
          <p:nvPr/>
        </p:nvCxnSpPr>
        <p:spPr>
          <a:xfrm flipV="1">
            <a:off x="1616722" y="4445000"/>
            <a:ext cx="1376368" cy="10814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/>
          <p:cNvGrpSpPr/>
          <p:nvPr/>
        </p:nvGrpSpPr>
        <p:grpSpPr>
          <a:xfrm>
            <a:off x="2456553" y="2310988"/>
            <a:ext cx="419100" cy="409575"/>
            <a:chOff x="4913313" y="1749426"/>
            <a:chExt cx="558800" cy="546100"/>
          </a:xfrm>
          <a:solidFill>
            <a:schemeClr val="accent1"/>
          </a:solidFill>
        </p:grpSpPr>
        <p:sp>
          <p:nvSpPr>
            <p:cNvPr id="117" name="Freeform 80"/>
            <p:cNvSpPr>
              <a:spLocks/>
            </p:cNvSpPr>
            <p:nvPr/>
          </p:nvSpPr>
          <p:spPr bwMode="auto">
            <a:xfrm>
              <a:off x="4913313" y="1795463"/>
              <a:ext cx="463550" cy="500063"/>
            </a:xfrm>
            <a:custGeom>
              <a:avLst/>
              <a:gdLst>
                <a:gd name="T0" fmla="*/ 200 w 208"/>
                <a:gd name="T1" fmla="*/ 224 h 224"/>
                <a:gd name="T2" fmla="*/ 8 w 208"/>
                <a:gd name="T3" fmla="*/ 224 h 224"/>
                <a:gd name="T4" fmla="*/ 0 w 208"/>
                <a:gd name="T5" fmla="*/ 216 h 224"/>
                <a:gd name="T6" fmla="*/ 0 w 208"/>
                <a:gd name="T7" fmla="*/ 8 h 224"/>
                <a:gd name="T8" fmla="*/ 8 w 208"/>
                <a:gd name="T9" fmla="*/ 0 h 224"/>
                <a:gd name="T10" fmla="*/ 169 w 208"/>
                <a:gd name="T11" fmla="*/ 0 h 224"/>
                <a:gd name="T12" fmla="*/ 177 w 208"/>
                <a:gd name="T13" fmla="*/ 8 h 224"/>
                <a:gd name="T14" fmla="*/ 169 w 208"/>
                <a:gd name="T15" fmla="*/ 16 h 224"/>
                <a:gd name="T16" fmla="*/ 16 w 208"/>
                <a:gd name="T17" fmla="*/ 16 h 224"/>
                <a:gd name="T18" fmla="*/ 16 w 208"/>
                <a:gd name="T19" fmla="*/ 208 h 224"/>
                <a:gd name="T20" fmla="*/ 192 w 208"/>
                <a:gd name="T21" fmla="*/ 208 h 224"/>
                <a:gd name="T22" fmla="*/ 192 w 208"/>
                <a:gd name="T23" fmla="*/ 90 h 224"/>
                <a:gd name="T24" fmla="*/ 200 w 208"/>
                <a:gd name="T25" fmla="*/ 82 h 224"/>
                <a:gd name="T26" fmla="*/ 208 w 208"/>
                <a:gd name="T27" fmla="*/ 90 h 224"/>
                <a:gd name="T28" fmla="*/ 208 w 208"/>
                <a:gd name="T29" fmla="*/ 216 h 224"/>
                <a:gd name="T30" fmla="*/ 200 w 208"/>
                <a:gd name="T31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4">
                  <a:moveTo>
                    <a:pt x="200" y="224"/>
                  </a:moveTo>
                  <a:cubicBezTo>
                    <a:pt x="8" y="224"/>
                    <a:pt x="8" y="224"/>
                    <a:pt x="8" y="224"/>
                  </a:cubicBezTo>
                  <a:cubicBezTo>
                    <a:pt x="4" y="224"/>
                    <a:pt x="0" y="220"/>
                    <a:pt x="0" y="2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4" y="0"/>
                    <a:pt x="177" y="4"/>
                    <a:pt x="177" y="8"/>
                  </a:cubicBezTo>
                  <a:cubicBezTo>
                    <a:pt x="177" y="12"/>
                    <a:pt x="174" y="16"/>
                    <a:pt x="169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2" y="90"/>
                    <a:pt x="192" y="90"/>
                    <a:pt x="192" y="90"/>
                  </a:cubicBezTo>
                  <a:cubicBezTo>
                    <a:pt x="192" y="85"/>
                    <a:pt x="196" y="82"/>
                    <a:pt x="200" y="82"/>
                  </a:cubicBezTo>
                  <a:cubicBezTo>
                    <a:pt x="204" y="82"/>
                    <a:pt x="208" y="85"/>
                    <a:pt x="208" y="90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20"/>
                    <a:pt x="204" y="224"/>
                    <a:pt x="200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8" name="Freeform 81"/>
            <p:cNvSpPr>
              <a:spLocks noEditPoints="1"/>
            </p:cNvSpPr>
            <p:nvPr/>
          </p:nvSpPr>
          <p:spPr bwMode="auto">
            <a:xfrm>
              <a:off x="5114925" y="1749426"/>
              <a:ext cx="357188" cy="354013"/>
            </a:xfrm>
            <a:custGeom>
              <a:avLst/>
              <a:gdLst>
                <a:gd name="T0" fmla="*/ 6 w 160"/>
                <a:gd name="T1" fmla="*/ 159 h 159"/>
                <a:gd name="T2" fmla="*/ 2 w 160"/>
                <a:gd name="T3" fmla="*/ 157 h 159"/>
                <a:gd name="T4" fmla="*/ 1 w 160"/>
                <a:gd name="T5" fmla="*/ 151 h 159"/>
                <a:gd name="T6" fmla="*/ 14 w 160"/>
                <a:gd name="T7" fmla="*/ 118 h 159"/>
                <a:gd name="T8" fmla="*/ 16 w 160"/>
                <a:gd name="T9" fmla="*/ 116 h 159"/>
                <a:gd name="T10" fmla="*/ 127 w 160"/>
                <a:gd name="T11" fmla="*/ 5 h 159"/>
                <a:gd name="T12" fmla="*/ 139 w 160"/>
                <a:gd name="T13" fmla="*/ 0 h 159"/>
                <a:gd name="T14" fmla="*/ 158 w 160"/>
                <a:gd name="T15" fmla="*/ 13 h 159"/>
                <a:gd name="T16" fmla="*/ 154 w 160"/>
                <a:gd name="T17" fmla="*/ 32 h 159"/>
                <a:gd name="T18" fmla="*/ 43 w 160"/>
                <a:gd name="T19" fmla="*/ 143 h 159"/>
                <a:gd name="T20" fmla="*/ 41 w 160"/>
                <a:gd name="T21" fmla="*/ 145 h 159"/>
                <a:gd name="T22" fmla="*/ 8 w 160"/>
                <a:gd name="T23" fmla="*/ 159 h 159"/>
                <a:gd name="T24" fmla="*/ 6 w 160"/>
                <a:gd name="T25" fmla="*/ 159 h 159"/>
                <a:gd name="T26" fmla="*/ 25 w 160"/>
                <a:gd name="T27" fmla="*/ 124 h 159"/>
                <a:gd name="T28" fmla="*/ 18 w 160"/>
                <a:gd name="T29" fmla="*/ 142 h 159"/>
                <a:gd name="T30" fmla="*/ 35 w 160"/>
                <a:gd name="T31" fmla="*/ 134 h 159"/>
                <a:gd name="T32" fmla="*/ 145 w 160"/>
                <a:gd name="T33" fmla="*/ 24 h 159"/>
                <a:gd name="T34" fmla="*/ 146 w 160"/>
                <a:gd name="T35" fmla="*/ 18 h 159"/>
                <a:gd name="T36" fmla="*/ 139 w 160"/>
                <a:gd name="T37" fmla="*/ 12 h 159"/>
                <a:gd name="T38" fmla="*/ 135 w 160"/>
                <a:gd name="T39" fmla="*/ 14 h 159"/>
                <a:gd name="T40" fmla="*/ 25 w 160"/>
                <a:gd name="T41" fmla="*/ 12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" h="159">
                  <a:moveTo>
                    <a:pt x="6" y="159"/>
                  </a:moveTo>
                  <a:cubicBezTo>
                    <a:pt x="5" y="159"/>
                    <a:pt x="3" y="158"/>
                    <a:pt x="2" y="157"/>
                  </a:cubicBezTo>
                  <a:cubicBezTo>
                    <a:pt x="0" y="156"/>
                    <a:pt x="0" y="153"/>
                    <a:pt x="1" y="151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5" y="118"/>
                    <a:pt x="15" y="117"/>
                    <a:pt x="16" y="116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30" y="2"/>
                    <a:pt x="134" y="0"/>
                    <a:pt x="139" y="0"/>
                  </a:cubicBezTo>
                  <a:cubicBezTo>
                    <a:pt x="147" y="0"/>
                    <a:pt x="154" y="6"/>
                    <a:pt x="158" y="13"/>
                  </a:cubicBezTo>
                  <a:cubicBezTo>
                    <a:pt x="160" y="20"/>
                    <a:pt x="159" y="27"/>
                    <a:pt x="154" y="32"/>
                  </a:cubicBezTo>
                  <a:cubicBezTo>
                    <a:pt x="43" y="143"/>
                    <a:pt x="43" y="143"/>
                    <a:pt x="43" y="143"/>
                  </a:cubicBezTo>
                  <a:cubicBezTo>
                    <a:pt x="42" y="144"/>
                    <a:pt x="42" y="144"/>
                    <a:pt x="41" y="145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8" y="159"/>
                    <a:pt x="7" y="159"/>
                    <a:pt x="6" y="159"/>
                  </a:cubicBezTo>
                  <a:close/>
                  <a:moveTo>
                    <a:pt x="25" y="124"/>
                  </a:moveTo>
                  <a:cubicBezTo>
                    <a:pt x="18" y="142"/>
                    <a:pt x="18" y="142"/>
                    <a:pt x="18" y="142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145" y="24"/>
                    <a:pt x="145" y="24"/>
                    <a:pt x="145" y="24"/>
                  </a:cubicBezTo>
                  <a:cubicBezTo>
                    <a:pt x="146" y="23"/>
                    <a:pt x="148" y="21"/>
                    <a:pt x="146" y="18"/>
                  </a:cubicBezTo>
                  <a:cubicBezTo>
                    <a:pt x="145" y="15"/>
                    <a:pt x="142" y="12"/>
                    <a:pt x="139" y="12"/>
                  </a:cubicBezTo>
                  <a:cubicBezTo>
                    <a:pt x="138" y="12"/>
                    <a:pt x="136" y="13"/>
                    <a:pt x="135" y="14"/>
                  </a:cubicBezTo>
                  <a:lnTo>
                    <a:pt x="25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9" name="Freeform 82"/>
            <p:cNvSpPr>
              <a:spLocks/>
            </p:cNvSpPr>
            <p:nvPr/>
          </p:nvSpPr>
          <p:spPr bwMode="auto">
            <a:xfrm>
              <a:off x="5367338" y="1790701"/>
              <a:ext cx="60325" cy="60325"/>
            </a:xfrm>
            <a:custGeom>
              <a:avLst/>
              <a:gdLst>
                <a:gd name="T0" fmla="*/ 27 w 38"/>
                <a:gd name="T1" fmla="*/ 38 h 38"/>
                <a:gd name="T2" fmla="*/ 0 w 38"/>
                <a:gd name="T3" fmla="*/ 13 h 38"/>
                <a:gd name="T4" fmla="*/ 12 w 38"/>
                <a:gd name="T5" fmla="*/ 0 h 38"/>
                <a:gd name="T6" fmla="*/ 38 w 38"/>
                <a:gd name="T7" fmla="*/ 27 h 38"/>
                <a:gd name="T8" fmla="*/ 27 w 3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7" y="38"/>
                  </a:moveTo>
                  <a:lnTo>
                    <a:pt x="0" y="13"/>
                  </a:lnTo>
                  <a:lnTo>
                    <a:pt x="12" y="0"/>
                  </a:lnTo>
                  <a:lnTo>
                    <a:pt x="38" y="27"/>
                  </a:lnTo>
                  <a:lnTo>
                    <a:pt x="2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3149410" y="4070549"/>
            <a:ext cx="371475" cy="367904"/>
            <a:chOff x="6389688" y="4192588"/>
            <a:chExt cx="495300" cy="490538"/>
          </a:xfrm>
          <a:solidFill>
            <a:schemeClr val="accent1"/>
          </a:solidFill>
        </p:grpSpPr>
        <p:sp>
          <p:nvSpPr>
            <p:cNvPr id="124" name="Freeform 86"/>
            <p:cNvSpPr>
              <a:spLocks noEditPoints="1"/>
            </p:cNvSpPr>
            <p:nvPr/>
          </p:nvSpPr>
          <p:spPr bwMode="auto">
            <a:xfrm>
              <a:off x="6389688" y="4238626"/>
              <a:ext cx="452438" cy="444500"/>
            </a:xfrm>
            <a:custGeom>
              <a:avLst/>
              <a:gdLst>
                <a:gd name="T0" fmla="*/ 84 w 118"/>
                <a:gd name="T1" fmla="*/ 3 h 116"/>
                <a:gd name="T2" fmla="*/ 77 w 118"/>
                <a:gd name="T3" fmla="*/ 0 h 116"/>
                <a:gd name="T4" fmla="*/ 70 w 118"/>
                <a:gd name="T5" fmla="*/ 3 h 116"/>
                <a:gd name="T6" fmla="*/ 64 w 118"/>
                <a:gd name="T7" fmla="*/ 9 h 116"/>
                <a:gd name="T8" fmla="*/ 61 w 118"/>
                <a:gd name="T9" fmla="*/ 16 h 116"/>
                <a:gd name="T10" fmla="*/ 62 w 118"/>
                <a:gd name="T11" fmla="*/ 21 h 116"/>
                <a:gd name="T12" fmla="*/ 8 w 118"/>
                <a:gd name="T13" fmla="*/ 43 h 116"/>
                <a:gd name="T14" fmla="*/ 1 w 118"/>
                <a:gd name="T15" fmla="*/ 51 h 116"/>
                <a:gd name="T16" fmla="*/ 5 w 118"/>
                <a:gd name="T17" fmla="*/ 62 h 116"/>
                <a:gd name="T18" fmla="*/ 55 w 118"/>
                <a:gd name="T19" fmla="*/ 112 h 116"/>
                <a:gd name="T20" fmla="*/ 64 w 118"/>
                <a:gd name="T21" fmla="*/ 116 h 116"/>
                <a:gd name="T22" fmla="*/ 64 w 118"/>
                <a:gd name="T23" fmla="*/ 116 h 116"/>
                <a:gd name="T24" fmla="*/ 66 w 118"/>
                <a:gd name="T25" fmla="*/ 116 h 116"/>
                <a:gd name="T26" fmla="*/ 75 w 118"/>
                <a:gd name="T27" fmla="*/ 108 h 116"/>
                <a:gd name="T28" fmla="*/ 96 w 118"/>
                <a:gd name="T29" fmla="*/ 55 h 116"/>
                <a:gd name="T30" fmla="*/ 102 w 118"/>
                <a:gd name="T31" fmla="*/ 57 h 116"/>
                <a:gd name="T32" fmla="*/ 109 w 118"/>
                <a:gd name="T33" fmla="*/ 54 h 116"/>
                <a:gd name="T34" fmla="*/ 115 w 118"/>
                <a:gd name="T35" fmla="*/ 48 h 116"/>
                <a:gd name="T36" fmla="*/ 118 w 118"/>
                <a:gd name="T37" fmla="*/ 41 h 116"/>
                <a:gd name="T38" fmla="*/ 115 w 118"/>
                <a:gd name="T39" fmla="*/ 34 h 116"/>
                <a:gd name="T40" fmla="*/ 84 w 118"/>
                <a:gd name="T41" fmla="*/ 3 h 116"/>
                <a:gd name="T42" fmla="*/ 68 w 118"/>
                <a:gd name="T43" fmla="*/ 105 h 116"/>
                <a:gd name="T44" fmla="*/ 65 w 118"/>
                <a:gd name="T45" fmla="*/ 108 h 116"/>
                <a:gd name="T46" fmla="*/ 64 w 118"/>
                <a:gd name="T47" fmla="*/ 108 h 116"/>
                <a:gd name="T48" fmla="*/ 61 w 118"/>
                <a:gd name="T49" fmla="*/ 107 h 116"/>
                <a:gd name="T50" fmla="*/ 10 w 118"/>
                <a:gd name="T51" fmla="*/ 56 h 116"/>
                <a:gd name="T52" fmla="*/ 9 w 118"/>
                <a:gd name="T53" fmla="*/ 53 h 116"/>
                <a:gd name="T54" fmla="*/ 11 w 118"/>
                <a:gd name="T55" fmla="*/ 50 h 116"/>
                <a:gd name="T56" fmla="*/ 36 w 118"/>
                <a:gd name="T57" fmla="*/ 40 h 116"/>
                <a:gd name="T58" fmla="*/ 87 w 118"/>
                <a:gd name="T59" fmla="*/ 58 h 116"/>
                <a:gd name="T60" fmla="*/ 68 w 118"/>
                <a:gd name="T61" fmla="*/ 105 h 116"/>
                <a:gd name="T62" fmla="*/ 109 w 118"/>
                <a:gd name="T63" fmla="*/ 42 h 116"/>
                <a:gd name="T64" fmla="*/ 103 w 118"/>
                <a:gd name="T65" fmla="*/ 48 h 116"/>
                <a:gd name="T66" fmla="*/ 100 w 118"/>
                <a:gd name="T67" fmla="*/ 48 h 116"/>
                <a:gd name="T68" fmla="*/ 93 w 118"/>
                <a:gd name="T69" fmla="*/ 41 h 116"/>
                <a:gd name="T70" fmla="*/ 88 w 118"/>
                <a:gd name="T71" fmla="*/ 55 h 116"/>
                <a:gd name="T72" fmla="*/ 88 w 118"/>
                <a:gd name="T73" fmla="*/ 54 h 116"/>
                <a:gd name="T74" fmla="*/ 53 w 118"/>
                <a:gd name="T75" fmla="*/ 39 h 116"/>
                <a:gd name="T76" fmla="*/ 42 w 118"/>
                <a:gd name="T77" fmla="*/ 38 h 116"/>
                <a:gd name="T78" fmla="*/ 76 w 118"/>
                <a:gd name="T79" fmla="*/ 24 h 116"/>
                <a:gd name="T80" fmla="*/ 70 w 118"/>
                <a:gd name="T81" fmla="*/ 17 h 116"/>
                <a:gd name="T82" fmla="*/ 70 w 118"/>
                <a:gd name="T83" fmla="*/ 14 h 116"/>
                <a:gd name="T84" fmla="*/ 75 w 118"/>
                <a:gd name="T85" fmla="*/ 9 h 116"/>
                <a:gd name="T86" fmla="*/ 78 w 118"/>
                <a:gd name="T87" fmla="*/ 9 h 116"/>
                <a:gd name="T88" fmla="*/ 109 w 118"/>
                <a:gd name="T89" fmla="*/ 39 h 116"/>
                <a:gd name="T90" fmla="*/ 109 w 118"/>
                <a:gd name="T91" fmla="*/ 4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8" h="116">
                  <a:moveTo>
                    <a:pt x="84" y="3"/>
                  </a:moveTo>
                  <a:cubicBezTo>
                    <a:pt x="82" y="1"/>
                    <a:pt x="79" y="0"/>
                    <a:pt x="77" y="0"/>
                  </a:cubicBezTo>
                  <a:cubicBezTo>
                    <a:pt x="74" y="0"/>
                    <a:pt x="71" y="1"/>
                    <a:pt x="70" y="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2" y="10"/>
                    <a:pt x="61" y="13"/>
                    <a:pt x="61" y="16"/>
                  </a:cubicBezTo>
                  <a:cubicBezTo>
                    <a:pt x="61" y="18"/>
                    <a:pt x="62" y="19"/>
                    <a:pt x="62" y="21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5" y="44"/>
                    <a:pt x="2" y="48"/>
                    <a:pt x="1" y="51"/>
                  </a:cubicBezTo>
                  <a:cubicBezTo>
                    <a:pt x="0" y="55"/>
                    <a:pt x="2" y="59"/>
                    <a:pt x="5" y="62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8" y="115"/>
                    <a:pt x="61" y="116"/>
                    <a:pt x="64" y="116"/>
                  </a:cubicBezTo>
                  <a:cubicBezTo>
                    <a:pt x="64" y="116"/>
                    <a:pt x="64" y="116"/>
                    <a:pt x="64" y="116"/>
                  </a:cubicBezTo>
                  <a:cubicBezTo>
                    <a:pt x="65" y="116"/>
                    <a:pt x="66" y="116"/>
                    <a:pt x="66" y="116"/>
                  </a:cubicBezTo>
                  <a:cubicBezTo>
                    <a:pt x="70" y="115"/>
                    <a:pt x="74" y="112"/>
                    <a:pt x="75" y="108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8" y="56"/>
                    <a:pt x="100" y="57"/>
                    <a:pt x="102" y="57"/>
                  </a:cubicBezTo>
                  <a:cubicBezTo>
                    <a:pt x="105" y="57"/>
                    <a:pt x="107" y="56"/>
                    <a:pt x="109" y="54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7" y="46"/>
                    <a:pt x="118" y="44"/>
                    <a:pt x="118" y="41"/>
                  </a:cubicBezTo>
                  <a:cubicBezTo>
                    <a:pt x="118" y="38"/>
                    <a:pt x="117" y="36"/>
                    <a:pt x="115" y="34"/>
                  </a:cubicBezTo>
                  <a:lnTo>
                    <a:pt x="84" y="3"/>
                  </a:lnTo>
                  <a:close/>
                  <a:moveTo>
                    <a:pt x="68" y="105"/>
                  </a:moveTo>
                  <a:cubicBezTo>
                    <a:pt x="67" y="107"/>
                    <a:pt x="66" y="108"/>
                    <a:pt x="65" y="108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63" y="108"/>
                    <a:pt x="62" y="108"/>
                    <a:pt x="61" y="10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56"/>
                    <a:pt x="9" y="54"/>
                    <a:pt x="9" y="53"/>
                  </a:cubicBezTo>
                  <a:cubicBezTo>
                    <a:pt x="9" y="52"/>
                    <a:pt x="10" y="51"/>
                    <a:pt x="11" y="5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53" y="46"/>
                    <a:pt x="70" y="40"/>
                    <a:pt x="87" y="58"/>
                  </a:cubicBezTo>
                  <a:lnTo>
                    <a:pt x="68" y="105"/>
                  </a:lnTo>
                  <a:close/>
                  <a:moveTo>
                    <a:pt x="109" y="42"/>
                  </a:moveTo>
                  <a:cubicBezTo>
                    <a:pt x="103" y="48"/>
                    <a:pt x="103" y="48"/>
                    <a:pt x="103" y="48"/>
                  </a:cubicBezTo>
                  <a:cubicBezTo>
                    <a:pt x="103" y="49"/>
                    <a:pt x="101" y="49"/>
                    <a:pt x="100" y="4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76" y="42"/>
                    <a:pt x="64" y="41"/>
                    <a:pt x="53" y="39"/>
                  </a:cubicBezTo>
                  <a:cubicBezTo>
                    <a:pt x="49" y="39"/>
                    <a:pt x="46" y="38"/>
                    <a:pt x="42" y="38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9" y="16"/>
                    <a:pt x="69" y="15"/>
                    <a:pt x="70" y="1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6" y="8"/>
                    <a:pt x="77" y="8"/>
                    <a:pt x="78" y="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10" y="40"/>
                    <a:pt x="110" y="42"/>
                    <a:pt x="109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5" name="Freeform 87"/>
            <p:cNvSpPr>
              <a:spLocks noEditPoints="1"/>
            </p:cNvSpPr>
            <p:nvPr/>
          </p:nvSpPr>
          <p:spPr bwMode="auto">
            <a:xfrm>
              <a:off x="6608763" y="4438651"/>
              <a:ext cx="76200" cy="76200"/>
            </a:xfrm>
            <a:custGeom>
              <a:avLst/>
              <a:gdLst>
                <a:gd name="T0" fmla="*/ 10 w 20"/>
                <a:gd name="T1" fmla="*/ 20 h 20"/>
                <a:gd name="T2" fmla="*/ 20 w 20"/>
                <a:gd name="T3" fmla="*/ 10 h 20"/>
                <a:gd name="T4" fmla="*/ 10 w 20"/>
                <a:gd name="T5" fmla="*/ 0 h 20"/>
                <a:gd name="T6" fmla="*/ 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16 w 20"/>
                <a:gd name="T13" fmla="*/ 10 h 20"/>
                <a:gd name="T14" fmla="*/ 10 w 20"/>
                <a:gd name="T15" fmla="*/ 16 h 20"/>
                <a:gd name="T16" fmla="*/ 4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lose/>
                  <a:moveTo>
                    <a:pt x="10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6" name="Freeform 88"/>
            <p:cNvSpPr>
              <a:spLocks noEditPoints="1"/>
            </p:cNvSpPr>
            <p:nvPr/>
          </p:nvSpPr>
          <p:spPr bwMode="auto">
            <a:xfrm>
              <a:off x="6808788" y="4192588"/>
              <a:ext cx="76200" cy="76200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7" name="Freeform 89"/>
            <p:cNvSpPr>
              <a:spLocks noEditPoints="1"/>
            </p:cNvSpPr>
            <p:nvPr/>
          </p:nvSpPr>
          <p:spPr bwMode="auto">
            <a:xfrm>
              <a:off x="6516688" y="4422776"/>
              <a:ext cx="61913" cy="61913"/>
            </a:xfrm>
            <a:custGeom>
              <a:avLst/>
              <a:gdLst>
                <a:gd name="T0" fmla="*/ 0 w 16"/>
                <a:gd name="T1" fmla="*/ 8 h 16"/>
                <a:gd name="T2" fmla="*/ 8 w 16"/>
                <a:gd name="T3" fmla="*/ 16 h 16"/>
                <a:gd name="T4" fmla="*/ 16 w 16"/>
                <a:gd name="T5" fmla="*/ 8 h 16"/>
                <a:gd name="T6" fmla="*/ 8 w 16"/>
                <a:gd name="T7" fmla="*/ 0 h 16"/>
                <a:gd name="T8" fmla="*/ 0 w 16"/>
                <a:gd name="T9" fmla="*/ 8 h 16"/>
                <a:gd name="T10" fmla="*/ 8 w 16"/>
                <a:gd name="T11" fmla="*/ 4 h 16"/>
                <a:gd name="T12" fmla="*/ 12 w 16"/>
                <a:gd name="T13" fmla="*/ 8 h 16"/>
                <a:gd name="T14" fmla="*/ 8 w 16"/>
                <a:gd name="T15" fmla="*/ 12 h 16"/>
                <a:gd name="T16" fmla="*/ 4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cubicBezTo>
                    <a:pt x="0" y="12"/>
                    <a:pt x="4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lose/>
                  <a:moveTo>
                    <a:pt x="8" y="4"/>
                  </a:moveTo>
                  <a:cubicBezTo>
                    <a:pt x="10" y="4"/>
                    <a:pt x="12" y="6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6" y="12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8" name="Oval 90"/>
            <p:cNvSpPr>
              <a:spLocks noChangeArrowheads="1"/>
            </p:cNvSpPr>
            <p:nvPr/>
          </p:nvSpPr>
          <p:spPr bwMode="auto">
            <a:xfrm>
              <a:off x="6578601" y="4530726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9" name="Oval 91"/>
            <p:cNvSpPr>
              <a:spLocks noChangeArrowheads="1"/>
            </p:cNvSpPr>
            <p:nvPr/>
          </p:nvSpPr>
          <p:spPr bwMode="auto">
            <a:xfrm>
              <a:off x="6823076" y="4300538"/>
              <a:ext cx="31750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131" name="Straight Connector 130"/>
          <p:cNvCxnSpPr/>
          <p:nvPr/>
        </p:nvCxnSpPr>
        <p:spPr>
          <a:xfrm flipV="1">
            <a:off x="4581526" y="2638425"/>
            <a:ext cx="22225" cy="125095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>
            <a:off x="4845050" y="2201864"/>
            <a:ext cx="1197764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Idealización</a:t>
            </a:r>
            <a:endParaRPr lang="id-ID" sz="1050" b="1" dirty="0">
              <a:latin typeface="+mj-lt"/>
            </a:endParaRPr>
          </a:p>
        </p:txBody>
      </p:sp>
      <p:sp>
        <p:nvSpPr>
          <p:cNvPr id="137" name="Rectangle 136"/>
          <p:cNvSpPr>
            <a:spLocks noChangeArrowheads="1"/>
          </p:cNvSpPr>
          <p:nvPr/>
        </p:nvSpPr>
        <p:spPr bwMode="auto">
          <a:xfrm>
            <a:off x="4845052" y="2433639"/>
            <a:ext cx="1521490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Diseño Versión 1.0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38" name="Straight Connector 137"/>
          <p:cNvCxnSpPr/>
          <p:nvPr/>
        </p:nvCxnSpPr>
        <p:spPr>
          <a:xfrm>
            <a:off x="4845051" y="2432050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Freeform 95"/>
          <p:cNvSpPr>
            <a:spLocks noEditPoints="1"/>
          </p:cNvSpPr>
          <p:nvPr/>
        </p:nvSpPr>
        <p:spPr bwMode="auto">
          <a:xfrm>
            <a:off x="4462463" y="2225675"/>
            <a:ext cx="381000" cy="368300"/>
          </a:xfrm>
          <a:custGeom>
            <a:avLst/>
            <a:gdLst>
              <a:gd name="T0" fmla="*/ 94 w 132"/>
              <a:gd name="T1" fmla="*/ 0 h 128"/>
              <a:gd name="T2" fmla="*/ 56 w 132"/>
              <a:gd name="T3" fmla="*/ 27 h 128"/>
              <a:gd name="T4" fmla="*/ 55 w 132"/>
              <a:gd name="T5" fmla="*/ 27 h 128"/>
              <a:gd name="T6" fmla="*/ 14 w 132"/>
              <a:gd name="T7" fmla="*/ 69 h 128"/>
              <a:gd name="T8" fmla="*/ 1 w 132"/>
              <a:gd name="T9" fmla="*/ 110 h 128"/>
              <a:gd name="T10" fmla="*/ 14 w 132"/>
              <a:gd name="T11" fmla="*/ 128 h 128"/>
              <a:gd name="T12" fmla="*/ 53 w 132"/>
              <a:gd name="T13" fmla="*/ 118 h 128"/>
              <a:gd name="T14" fmla="*/ 120 w 132"/>
              <a:gd name="T15" fmla="*/ 53 h 128"/>
              <a:gd name="T16" fmla="*/ 64 w 132"/>
              <a:gd name="T17" fmla="*/ 95 h 128"/>
              <a:gd name="T18" fmla="*/ 99 w 132"/>
              <a:gd name="T19" fmla="*/ 47 h 128"/>
              <a:gd name="T20" fmla="*/ 95 w 132"/>
              <a:gd name="T21" fmla="*/ 67 h 128"/>
              <a:gd name="T22" fmla="*/ 64 w 132"/>
              <a:gd name="T23" fmla="*/ 98 h 128"/>
              <a:gd name="T24" fmla="*/ 59 w 132"/>
              <a:gd name="T25" fmla="*/ 81 h 128"/>
              <a:gd name="T26" fmla="*/ 46 w 132"/>
              <a:gd name="T27" fmla="*/ 68 h 128"/>
              <a:gd name="T28" fmla="*/ 92 w 132"/>
              <a:gd name="T29" fmla="*/ 36 h 128"/>
              <a:gd name="T30" fmla="*/ 59 w 132"/>
              <a:gd name="T31" fmla="*/ 81 h 128"/>
              <a:gd name="T32" fmla="*/ 30 w 132"/>
              <a:gd name="T33" fmla="*/ 64 h 128"/>
              <a:gd name="T34" fmla="*/ 80 w 132"/>
              <a:gd name="T35" fmla="*/ 29 h 128"/>
              <a:gd name="T36" fmla="*/ 17 w 132"/>
              <a:gd name="T37" fmla="*/ 119 h 128"/>
              <a:gd name="T38" fmla="*/ 8 w 132"/>
              <a:gd name="T39" fmla="*/ 114 h 128"/>
              <a:gd name="T40" fmla="*/ 13 w 132"/>
              <a:gd name="T41" fmla="*/ 96 h 128"/>
              <a:gd name="T42" fmla="*/ 32 w 132"/>
              <a:gd name="T43" fmla="*/ 116 h 128"/>
              <a:gd name="T44" fmla="*/ 35 w 132"/>
              <a:gd name="T45" fmla="*/ 115 h 128"/>
              <a:gd name="T46" fmla="*/ 14 w 132"/>
              <a:gd name="T47" fmla="*/ 92 h 128"/>
              <a:gd name="T48" fmla="*/ 19 w 132"/>
              <a:gd name="T49" fmla="*/ 75 h 128"/>
              <a:gd name="T50" fmla="*/ 52 w 132"/>
              <a:gd name="T51" fmla="*/ 110 h 128"/>
              <a:gd name="T52" fmla="*/ 35 w 132"/>
              <a:gd name="T53" fmla="*/ 115 h 128"/>
              <a:gd name="T54" fmla="*/ 108 w 132"/>
              <a:gd name="T55" fmla="*/ 54 h 128"/>
              <a:gd name="T56" fmla="*/ 98 w 132"/>
              <a:gd name="T57" fmla="*/ 30 h 128"/>
              <a:gd name="T58" fmla="*/ 81 w 132"/>
              <a:gd name="T59" fmla="*/ 13 h 128"/>
              <a:gd name="T60" fmla="*/ 112 w 132"/>
              <a:gd name="T61" fmla="*/ 16 h 128"/>
              <a:gd name="T62" fmla="*/ 115 w 132"/>
              <a:gd name="T63" fmla="*/ 4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2" h="128">
                <a:moveTo>
                  <a:pt x="118" y="10"/>
                </a:moveTo>
                <a:cubicBezTo>
                  <a:pt x="111" y="4"/>
                  <a:pt x="102" y="0"/>
                  <a:pt x="94" y="0"/>
                </a:cubicBezTo>
                <a:cubicBezTo>
                  <a:pt x="87" y="0"/>
                  <a:pt x="80" y="3"/>
                  <a:pt x="75" y="8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27"/>
                  <a:pt x="56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71"/>
                  <a:pt x="11" y="73"/>
                  <a:pt x="10" y="76"/>
                </a:cubicBezTo>
                <a:cubicBezTo>
                  <a:pt x="1" y="110"/>
                  <a:pt x="1" y="110"/>
                  <a:pt x="1" y="110"/>
                </a:cubicBezTo>
                <a:cubicBezTo>
                  <a:pt x="1" y="110"/>
                  <a:pt x="0" y="113"/>
                  <a:pt x="0" y="114"/>
                </a:cubicBezTo>
                <a:cubicBezTo>
                  <a:pt x="0" y="122"/>
                  <a:pt x="6" y="128"/>
                  <a:pt x="14" y="128"/>
                </a:cubicBezTo>
                <a:cubicBezTo>
                  <a:pt x="16" y="128"/>
                  <a:pt x="19" y="127"/>
                  <a:pt x="19" y="127"/>
                </a:cubicBezTo>
                <a:cubicBezTo>
                  <a:pt x="53" y="118"/>
                  <a:pt x="53" y="118"/>
                  <a:pt x="53" y="118"/>
                </a:cubicBezTo>
                <a:cubicBezTo>
                  <a:pt x="55" y="118"/>
                  <a:pt x="57" y="116"/>
                  <a:pt x="59" y="114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32" y="42"/>
                  <a:pt x="130" y="23"/>
                  <a:pt x="118" y="10"/>
                </a:cubicBezTo>
                <a:close/>
                <a:moveTo>
                  <a:pt x="64" y="95"/>
                </a:moveTo>
                <a:cubicBezTo>
                  <a:pt x="64" y="92"/>
                  <a:pt x="63" y="88"/>
                  <a:pt x="61" y="85"/>
                </a:cubicBezTo>
                <a:cubicBezTo>
                  <a:pt x="99" y="47"/>
                  <a:pt x="99" y="47"/>
                  <a:pt x="99" y="47"/>
                </a:cubicBezTo>
                <a:cubicBezTo>
                  <a:pt x="101" y="54"/>
                  <a:pt x="100" y="62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64" y="98"/>
                  <a:pt x="64" y="98"/>
                  <a:pt x="64" y="98"/>
                </a:cubicBezTo>
                <a:cubicBezTo>
                  <a:pt x="64" y="97"/>
                  <a:pt x="64" y="96"/>
                  <a:pt x="64" y="95"/>
                </a:cubicBezTo>
                <a:close/>
                <a:moveTo>
                  <a:pt x="59" y="81"/>
                </a:moveTo>
                <a:cubicBezTo>
                  <a:pt x="58" y="79"/>
                  <a:pt x="56" y="76"/>
                  <a:pt x="54" y="74"/>
                </a:cubicBezTo>
                <a:cubicBezTo>
                  <a:pt x="51" y="72"/>
                  <a:pt x="49" y="70"/>
                  <a:pt x="46" y="68"/>
                </a:cubicBezTo>
                <a:cubicBezTo>
                  <a:pt x="84" y="30"/>
                  <a:pt x="84" y="30"/>
                  <a:pt x="84" y="30"/>
                </a:cubicBezTo>
                <a:cubicBezTo>
                  <a:pt x="87" y="31"/>
                  <a:pt x="90" y="33"/>
                  <a:pt x="92" y="36"/>
                </a:cubicBezTo>
                <a:cubicBezTo>
                  <a:pt x="94" y="38"/>
                  <a:pt x="96" y="40"/>
                  <a:pt x="97" y="43"/>
                </a:cubicBezTo>
                <a:lnTo>
                  <a:pt x="59" y="81"/>
                </a:lnTo>
                <a:close/>
                <a:moveTo>
                  <a:pt x="42" y="66"/>
                </a:moveTo>
                <a:cubicBezTo>
                  <a:pt x="38" y="65"/>
                  <a:pt x="34" y="64"/>
                  <a:pt x="30" y="64"/>
                </a:cubicBezTo>
                <a:cubicBezTo>
                  <a:pt x="61" y="33"/>
                  <a:pt x="61" y="33"/>
                  <a:pt x="61" y="33"/>
                </a:cubicBezTo>
                <a:cubicBezTo>
                  <a:pt x="66" y="28"/>
                  <a:pt x="73" y="27"/>
                  <a:pt x="80" y="29"/>
                </a:cubicBezTo>
                <a:lnTo>
                  <a:pt x="42" y="66"/>
                </a:lnTo>
                <a:close/>
                <a:moveTo>
                  <a:pt x="17" y="119"/>
                </a:moveTo>
                <a:cubicBezTo>
                  <a:pt x="16" y="120"/>
                  <a:pt x="15" y="120"/>
                  <a:pt x="14" y="120"/>
                </a:cubicBezTo>
                <a:cubicBezTo>
                  <a:pt x="11" y="120"/>
                  <a:pt x="8" y="117"/>
                  <a:pt x="8" y="114"/>
                </a:cubicBezTo>
                <a:cubicBezTo>
                  <a:pt x="8" y="113"/>
                  <a:pt x="8" y="112"/>
                  <a:pt x="8" y="112"/>
                </a:cubicBezTo>
                <a:cubicBezTo>
                  <a:pt x="13" y="96"/>
                  <a:pt x="13" y="96"/>
                  <a:pt x="13" y="96"/>
                </a:cubicBezTo>
                <a:cubicBezTo>
                  <a:pt x="17" y="96"/>
                  <a:pt x="22" y="98"/>
                  <a:pt x="26" y="102"/>
                </a:cubicBezTo>
                <a:cubicBezTo>
                  <a:pt x="30" y="106"/>
                  <a:pt x="32" y="111"/>
                  <a:pt x="32" y="116"/>
                </a:cubicBezTo>
                <a:lnTo>
                  <a:pt x="17" y="119"/>
                </a:lnTo>
                <a:close/>
                <a:moveTo>
                  <a:pt x="35" y="115"/>
                </a:moveTo>
                <a:cubicBezTo>
                  <a:pt x="35" y="109"/>
                  <a:pt x="33" y="104"/>
                  <a:pt x="29" y="99"/>
                </a:cubicBezTo>
                <a:cubicBezTo>
                  <a:pt x="25" y="95"/>
                  <a:pt x="19" y="93"/>
                  <a:pt x="14" y="92"/>
                </a:cubicBezTo>
                <a:cubicBezTo>
                  <a:pt x="18" y="78"/>
                  <a:pt x="18" y="78"/>
                  <a:pt x="18" y="78"/>
                </a:cubicBezTo>
                <a:cubicBezTo>
                  <a:pt x="18" y="77"/>
                  <a:pt x="19" y="76"/>
                  <a:pt x="19" y="75"/>
                </a:cubicBezTo>
                <a:cubicBezTo>
                  <a:pt x="27" y="69"/>
                  <a:pt x="40" y="71"/>
                  <a:pt x="48" y="80"/>
                </a:cubicBezTo>
                <a:cubicBezTo>
                  <a:pt x="57" y="89"/>
                  <a:pt x="59" y="102"/>
                  <a:pt x="52" y="110"/>
                </a:cubicBezTo>
                <a:cubicBezTo>
                  <a:pt x="51" y="110"/>
                  <a:pt x="51" y="111"/>
                  <a:pt x="50" y="111"/>
                </a:cubicBezTo>
                <a:lnTo>
                  <a:pt x="35" y="115"/>
                </a:lnTo>
                <a:close/>
                <a:moveTo>
                  <a:pt x="115" y="47"/>
                </a:moveTo>
                <a:cubicBezTo>
                  <a:pt x="108" y="54"/>
                  <a:pt x="108" y="54"/>
                  <a:pt x="108" y="54"/>
                </a:cubicBezTo>
                <a:cubicBezTo>
                  <a:pt x="108" y="53"/>
                  <a:pt x="108" y="52"/>
                  <a:pt x="108" y="51"/>
                </a:cubicBezTo>
                <a:cubicBezTo>
                  <a:pt x="107" y="43"/>
                  <a:pt x="104" y="36"/>
                  <a:pt x="98" y="30"/>
                </a:cubicBezTo>
                <a:cubicBezTo>
                  <a:pt x="91" y="24"/>
                  <a:pt x="83" y="20"/>
                  <a:pt x="74" y="20"/>
                </a:cubicBezTo>
                <a:cubicBezTo>
                  <a:pt x="81" y="13"/>
                  <a:pt x="81" y="13"/>
                  <a:pt x="81" y="13"/>
                </a:cubicBezTo>
                <a:cubicBezTo>
                  <a:pt x="84" y="10"/>
                  <a:pt x="89" y="8"/>
                  <a:pt x="94" y="8"/>
                </a:cubicBezTo>
                <a:cubicBezTo>
                  <a:pt x="100" y="8"/>
                  <a:pt x="107" y="11"/>
                  <a:pt x="112" y="16"/>
                </a:cubicBezTo>
                <a:cubicBezTo>
                  <a:pt x="117" y="21"/>
                  <a:pt x="120" y="27"/>
                  <a:pt x="120" y="33"/>
                </a:cubicBezTo>
                <a:cubicBezTo>
                  <a:pt x="120" y="38"/>
                  <a:pt x="118" y="43"/>
                  <a:pt x="115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cxnSp>
        <p:nvCxnSpPr>
          <p:cNvPr id="150" name="Straight Connector 149"/>
          <p:cNvCxnSpPr/>
          <p:nvPr/>
        </p:nvCxnSpPr>
        <p:spPr>
          <a:xfrm flipV="1">
            <a:off x="4856163" y="3287713"/>
            <a:ext cx="387350" cy="143351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3503471" y="4700627"/>
            <a:ext cx="979755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hangingPunct="1">
              <a:spcBef>
                <a:spcPts val="0"/>
              </a:spcBef>
              <a:defRPr/>
            </a:pPr>
            <a:r>
              <a:rPr lang="es-CL" sz="1400" b="1" dirty="0">
                <a:latin typeface="+mj-lt"/>
              </a:rPr>
              <a:t>Prototipo</a:t>
            </a:r>
            <a:endParaRPr lang="es-CL" sz="1050" b="1" dirty="0">
              <a:latin typeface="+mj-lt"/>
            </a:endParaRPr>
          </a:p>
        </p:txBody>
      </p:sp>
      <p:sp>
        <p:nvSpPr>
          <p:cNvPr id="157" name="Rectangle 156"/>
          <p:cNvSpPr>
            <a:spLocks noChangeArrowheads="1"/>
          </p:cNvSpPr>
          <p:nvPr/>
        </p:nvSpPr>
        <p:spPr bwMode="auto">
          <a:xfrm>
            <a:off x="3083049" y="4989504"/>
            <a:ext cx="1509713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Desarrollo Robot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58" name="Straight Connector 157"/>
          <p:cNvCxnSpPr/>
          <p:nvPr/>
        </p:nvCxnSpPr>
        <p:spPr>
          <a:xfrm>
            <a:off x="3368676" y="4954588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2" name="Group 171"/>
          <p:cNvGrpSpPr/>
          <p:nvPr/>
        </p:nvGrpSpPr>
        <p:grpSpPr>
          <a:xfrm>
            <a:off x="4575757" y="4774323"/>
            <a:ext cx="367904" cy="322659"/>
            <a:chOff x="4356100" y="5360988"/>
            <a:chExt cx="490538" cy="430212"/>
          </a:xfrm>
          <a:solidFill>
            <a:schemeClr val="accent1"/>
          </a:solidFill>
        </p:grpSpPr>
        <p:sp>
          <p:nvSpPr>
            <p:cNvPr id="170" name="Freeform 99"/>
            <p:cNvSpPr>
              <a:spLocks noEditPoints="1"/>
            </p:cNvSpPr>
            <p:nvPr/>
          </p:nvSpPr>
          <p:spPr bwMode="auto">
            <a:xfrm>
              <a:off x="4356100" y="5360988"/>
              <a:ext cx="490538" cy="430212"/>
            </a:xfrm>
            <a:custGeom>
              <a:avLst/>
              <a:gdLst>
                <a:gd name="T0" fmla="*/ 128 w 128"/>
                <a:gd name="T1" fmla="*/ 66 h 112"/>
                <a:gd name="T2" fmla="*/ 112 w 128"/>
                <a:gd name="T3" fmla="*/ 6 h 112"/>
                <a:gd name="T4" fmla="*/ 104 w 128"/>
                <a:gd name="T5" fmla="*/ 0 h 112"/>
                <a:gd name="T6" fmla="*/ 64 w 128"/>
                <a:gd name="T7" fmla="*/ 0 h 112"/>
                <a:gd name="T8" fmla="*/ 24 w 128"/>
                <a:gd name="T9" fmla="*/ 0 h 112"/>
                <a:gd name="T10" fmla="*/ 16 w 128"/>
                <a:gd name="T11" fmla="*/ 6 h 112"/>
                <a:gd name="T12" fmla="*/ 0 w 128"/>
                <a:gd name="T13" fmla="*/ 66 h 112"/>
                <a:gd name="T14" fmla="*/ 0 w 128"/>
                <a:gd name="T15" fmla="*/ 68 h 112"/>
                <a:gd name="T16" fmla="*/ 0 w 128"/>
                <a:gd name="T17" fmla="*/ 96 h 112"/>
                <a:gd name="T18" fmla="*/ 16 w 128"/>
                <a:gd name="T19" fmla="*/ 112 h 112"/>
                <a:gd name="T20" fmla="*/ 112 w 128"/>
                <a:gd name="T21" fmla="*/ 112 h 112"/>
                <a:gd name="T22" fmla="*/ 128 w 128"/>
                <a:gd name="T23" fmla="*/ 96 h 112"/>
                <a:gd name="T24" fmla="*/ 128 w 128"/>
                <a:gd name="T25" fmla="*/ 68 h 112"/>
                <a:gd name="T26" fmla="*/ 128 w 128"/>
                <a:gd name="T27" fmla="*/ 66 h 112"/>
                <a:gd name="T28" fmla="*/ 120 w 128"/>
                <a:gd name="T29" fmla="*/ 96 h 112"/>
                <a:gd name="T30" fmla="*/ 112 w 128"/>
                <a:gd name="T31" fmla="*/ 104 h 112"/>
                <a:gd name="T32" fmla="*/ 16 w 128"/>
                <a:gd name="T33" fmla="*/ 104 h 112"/>
                <a:gd name="T34" fmla="*/ 8 w 128"/>
                <a:gd name="T35" fmla="*/ 96 h 112"/>
                <a:gd name="T36" fmla="*/ 8 w 128"/>
                <a:gd name="T37" fmla="*/ 68 h 112"/>
                <a:gd name="T38" fmla="*/ 24 w 128"/>
                <a:gd name="T39" fmla="*/ 8 h 112"/>
                <a:gd name="T40" fmla="*/ 104 w 128"/>
                <a:gd name="T41" fmla="*/ 8 h 112"/>
                <a:gd name="T42" fmla="*/ 120 w 128"/>
                <a:gd name="T43" fmla="*/ 68 h 112"/>
                <a:gd name="T44" fmla="*/ 120 w 128"/>
                <a:gd name="T45" fmla="*/ 9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12">
                  <a:moveTo>
                    <a:pt x="128" y="66"/>
                  </a:moveTo>
                  <a:cubicBezTo>
                    <a:pt x="112" y="6"/>
                    <a:pt x="112" y="6"/>
                    <a:pt x="112" y="6"/>
                  </a:cubicBezTo>
                  <a:cubicBezTo>
                    <a:pt x="111" y="2"/>
                    <a:pt x="108" y="0"/>
                    <a:pt x="10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17" y="2"/>
                    <a:pt x="16" y="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0" y="67"/>
                    <a:pt x="0" y="6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5"/>
                    <a:pt x="7" y="112"/>
                    <a:pt x="1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21" y="112"/>
                    <a:pt x="128" y="105"/>
                    <a:pt x="128" y="96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7"/>
                    <a:pt x="128" y="67"/>
                    <a:pt x="128" y="66"/>
                  </a:cubicBezTo>
                  <a:close/>
                  <a:moveTo>
                    <a:pt x="120" y="96"/>
                  </a:moveTo>
                  <a:cubicBezTo>
                    <a:pt x="120" y="100"/>
                    <a:pt x="116" y="104"/>
                    <a:pt x="112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2" y="104"/>
                    <a:pt x="8" y="100"/>
                    <a:pt x="8" y="96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20" y="68"/>
                    <a:pt x="120" y="68"/>
                    <a:pt x="120" y="68"/>
                  </a:cubicBezTo>
                  <a:lnTo>
                    <a:pt x="12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71" name="Freeform 100"/>
            <p:cNvSpPr>
              <a:spLocks noEditPoints="1"/>
            </p:cNvSpPr>
            <p:nvPr/>
          </p:nvSpPr>
          <p:spPr bwMode="auto">
            <a:xfrm>
              <a:off x="4413250" y="5421313"/>
              <a:ext cx="376238" cy="277812"/>
            </a:xfrm>
            <a:custGeom>
              <a:avLst/>
              <a:gdLst>
                <a:gd name="T0" fmla="*/ 80 w 98"/>
                <a:gd name="T1" fmla="*/ 0 h 72"/>
                <a:gd name="T2" fmla="*/ 18 w 98"/>
                <a:gd name="T3" fmla="*/ 0 h 72"/>
                <a:gd name="T4" fmla="*/ 14 w 98"/>
                <a:gd name="T5" fmla="*/ 3 h 72"/>
                <a:gd name="T6" fmla="*/ 0 w 98"/>
                <a:gd name="T7" fmla="*/ 51 h 72"/>
                <a:gd name="T8" fmla="*/ 1 w 98"/>
                <a:gd name="T9" fmla="*/ 54 h 72"/>
                <a:gd name="T10" fmla="*/ 4 w 98"/>
                <a:gd name="T11" fmla="*/ 56 h 72"/>
                <a:gd name="T12" fmla="*/ 16 w 98"/>
                <a:gd name="T13" fmla="*/ 56 h 72"/>
                <a:gd name="T14" fmla="*/ 20 w 98"/>
                <a:gd name="T15" fmla="*/ 56 h 72"/>
                <a:gd name="T16" fmla="*/ 23 w 98"/>
                <a:gd name="T17" fmla="*/ 56 h 72"/>
                <a:gd name="T18" fmla="*/ 28 w 98"/>
                <a:gd name="T19" fmla="*/ 68 h 72"/>
                <a:gd name="T20" fmla="*/ 35 w 98"/>
                <a:gd name="T21" fmla="*/ 72 h 72"/>
                <a:gd name="T22" fmla="*/ 63 w 98"/>
                <a:gd name="T23" fmla="*/ 72 h 72"/>
                <a:gd name="T24" fmla="*/ 70 w 98"/>
                <a:gd name="T25" fmla="*/ 68 h 72"/>
                <a:gd name="T26" fmla="*/ 75 w 98"/>
                <a:gd name="T27" fmla="*/ 56 h 72"/>
                <a:gd name="T28" fmla="*/ 78 w 98"/>
                <a:gd name="T29" fmla="*/ 56 h 72"/>
                <a:gd name="T30" fmla="*/ 82 w 98"/>
                <a:gd name="T31" fmla="*/ 56 h 72"/>
                <a:gd name="T32" fmla="*/ 94 w 98"/>
                <a:gd name="T33" fmla="*/ 56 h 72"/>
                <a:gd name="T34" fmla="*/ 97 w 98"/>
                <a:gd name="T35" fmla="*/ 54 h 72"/>
                <a:gd name="T36" fmla="*/ 98 w 98"/>
                <a:gd name="T37" fmla="*/ 51 h 72"/>
                <a:gd name="T38" fmla="*/ 84 w 98"/>
                <a:gd name="T39" fmla="*/ 3 h 72"/>
                <a:gd name="T40" fmla="*/ 80 w 98"/>
                <a:gd name="T41" fmla="*/ 0 h 72"/>
                <a:gd name="T42" fmla="*/ 82 w 98"/>
                <a:gd name="T43" fmla="*/ 48 h 72"/>
                <a:gd name="T44" fmla="*/ 75 w 98"/>
                <a:gd name="T45" fmla="*/ 48 h 72"/>
                <a:gd name="T46" fmla="*/ 68 w 98"/>
                <a:gd name="T47" fmla="*/ 52 h 72"/>
                <a:gd name="T48" fmla="*/ 63 w 98"/>
                <a:gd name="T49" fmla="*/ 64 h 72"/>
                <a:gd name="T50" fmla="*/ 35 w 98"/>
                <a:gd name="T51" fmla="*/ 64 h 72"/>
                <a:gd name="T52" fmla="*/ 30 w 98"/>
                <a:gd name="T53" fmla="*/ 52 h 72"/>
                <a:gd name="T54" fmla="*/ 23 w 98"/>
                <a:gd name="T55" fmla="*/ 48 h 72"/>
                <a:gd name="T56" fmla="*/ 16 w 98"/>
                <a:gd name="T57" fmla="*/ 48 h 72"/>
                <a:gd name="T58" fmla="*/ 6 w 98"/>
                <a:gd name="T59" fmla="*/ 48 h 72"/>
                <a:gd name="T60" fmla="*/ 18 w 98"/>
                <a:gd name="T61" fmla="*/ 4 h 72"/>
                <a:gd name="T62" fmla="*/ 80 w 98"/>
                <a:gd name="T63" fmla="*/ 4 h 72"/>
                <a:gd name="T64" fmla="*/ 92 w 98"/>
                <a:gd name="T65" fmla="*/ 48 h 72"/>
                <a:gd name="T66" fmla="*/ 82 w 98"/>
                <a:gd name="T67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72">
                  <a:moveTo>
                    <a:pt x="8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5" y="1"/>
                    <a:pt x="14" y="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2"/>
                    <a:pt x="0" y="53"/>
                    <a:pt x="1" y="54"/>
                  </a:cubicBezTo>
                  <a:cubicBezTo>
                    <a:pt x="2" y="55"/>
                    <a:pt x="3" y="56"/>
                    <a:pt x="4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0" y="70"/>
                    <a:pt x="32" y="72"/>
                    <a:pt x="35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6" y="72"/>
                    <a:pt x="68" y="70"/>
                    <a:pt x="70" y="68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5" y="56"/>
                    <a:pt x="96" y="55"/>
                    <a:pt x="97" y="54"/>
                  </a:cubicBezTo>
                  <a:cubicBezTo>
                    <a:pt x="98" y="53"/>
                    <a:pt x="98" y="52"/>
                    <a:pt x="98" y="51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3" y="1"/>
                    <a:pt x="82" y="0"/>
                    <a:pt x="80" y="0"/>
                  </a:cubicBezTo>
                  <a:close/>
                  <a:moveTo>
                    <a:pt x="82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2" y="48"/>
                    <a:pt x="70" y="50"/>
                    <a:pt x="68" y="52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8" y="50"/>
                    <a:pt x="26" y="48"/>
                    <a:pt x="23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92" y="48"/>
                    <a:pt x="92" y="48"/>
                    <a:pt x="92" y="48"/>
                  </a:cubicBezTo>
                  <a:lnTo>
                    <a:pt x="8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174" name="Straight Connector 173"/>
          <p:cNvCxnSpPr>
            <a:cxnSpLocks/>
          </p:cNvCxnSpPr>
          <p:nvPr/>
        </p:nvCxnSpPr>
        <p:spPr>
          <a:xfrm flipV="1">
            <a:off x="5694364" y="3360739"/>
            <a:ext cx="184150" cy="452357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/>
          <p:cNvSpPr txBox="1"/>
          <p:nvPr/>
        </p:nvSpPr>
        <p:spPr>
          <a:xfrm>
            <a:off x="5735838" y="3910237"/>
            <a:ext cx="1447832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Marcha Blanca</a:t>
            </a:r>
            <a:endParaRPr lang="id-ID" sz="1400" b="1" dirty="0">
              <a:latin typeface="+mj-lt"/>
            </a:endParaRPr>
          </a:p>
        </p:txBody>
      </p:sp>
      <p:sp>
        <p:nvSpPr>
          <p:cNvPr id="177" name="Rectangle 176"/>
          <p:cNvSpPr>
            <a:spLocks noChangeArrowheads="1"/>
          </p:cNvSpPr>
          <p:nvPr/>
        </p:nvSpPr>
        <p:spPr bwMode="auto">
          <a:xfrm>
            <a:off x="5745127" y="4213519"/>
            <a:ext cx="1588435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Trabajo colaborativo con células 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78" name="Straight Connector 177"/>
          <p:cNvCxnSpPr/>
          <p:nvPr/>
        </p:nvCxnSpPr>
        <p:spPr>
          <a:xfrm>
            <a:off x="5817943" y="4196469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Freeform 104"/>
          <p:cNvSpPr>
            <a:spLocks/>
          </p:cNvSpPr>
          <p:nvPr/>
        </p:nvSpPr>
        <p:spPr bwMode="auto">
          <a:xfrm>
            <a:off x="5474131" y="3880363"/>
            <a:ext cx="252413" cy="258762"/>
          </a:xfrm>
          <a:custGeom>
            <a:avLst/>
            <a:gdLst>
              <a:gd name="T0" fmla="*/ 136 w 136"/>
              <a:gd name="T1" fmla="*/ 120 h 138"/>
              <a:gd name="T2" fmla="*/ 81 w 136"/>
              <a:gd name="T3" fmla="*/ 65 h 138"/>
              <a:gd name="T4" fmla="*/ 126 w 136"/>
              <a:gd name="T5" fmla="*/ 43 h 138"/>
              <a:gd name="T6" fmla="*/ 0 w 136"/>
              <a:gd name="T7" fmla="*/ 0 h 138"/>
              <a:gd name="T8" fmla="*/ 42 w 136"/>
              <a:gd name="T9" fmla="*/ 128 h 138"/>
              <a:gd name="T10" fmla="*/ 64 w 136"/>
              <a:gd name="T11" fmla="*/ 83 h 138"/>
              <a:gd name="T12" fmla="*/ 118 w 136"/>
              <a:gd name="T13" fmla="*/ 138 h 138"/>
              <a:gd name="T14" fmla="*/ 136 w 136"/>
              <a:gd name="T15" fmla="*/ 12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6" h="138">
                <a:moveTo>
                  <a:pt x="136" y="120"/>
                </a:moveTo>
                <a:lnTo>
                  <a:pt x="81" y="65"/>
                </a:lnTo>
                <a:lnTo>
                  <a:pt x="126" y="43"/>
                </a:lnTo>
                <a:lnTo>
                  <a:pt x="0" y="0"/>
                </a:lnTo>
                <a:lnTo>
                  <a:pt x="42" y="128"/>
                </a:lnTo>
                <a:lnTo>
                  <a:pt x="64" y="83"/>
                </a:lnTo>
                <a:lnTo>
                  <a:pt x="118" y="138"/>
                </a:lnTo>
                <a:lnTo>
                  <a:pt x="136" y="1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cxnSp>
        <p:nvCxnSpPr>
          <p:cNvPr id="186" name="Straight Connector 185"/>
          <p:cNvCxnSpPr/>
          <p:nvPr/>
        </p:nvCxnSpPr>
        <p:spPr>
          <a:xfrm flipV="1">
            <a:off x="6557964" y="2570163"/>
            <a:ext cx="147637" cy="32226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/>
          <p:cNvSpPr txBox="1"/>
          <p:nvPr/>
        </p:nvSpPr>
        <p:spPr>
          <a:xfrm>
            <a:off x="6957619" y="1828295"/>
            <a:ext cx="2445688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Investigación y desarrollo</a:t>
            </a:r>
          </a:p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(</a:t>
            </a:r>
            <a:r>
              <a:rPr lang="es-MX" sz="1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lt"/>
              </a:rPr>
              <a:t>Aquí termina el 2024</a:t>
            </a:r>
            <a:r>
              <a:rPr lang="es-MX" sz="1400" b="1" dirty="0">
                <a:latin typeface="+mj-lt"/>
              </a:rPr>
              <a:t>)</a:t>
            </a:r>
            <a:endParaRPr lang="id-ID" sz="1400" b="1" dirty="0">
              <a:latin typeface="+mj-lt"/>
            </a:endParaRPr>
          </a:p>
        </p:txBody>
      </p:sp>
      <p:sp>
        <p:nvSpPr>
          <p:cNvPr id="190" name="Rectangle 189"/>
          <p:cNvSpPr>
            <a:spLocks noChangeArrowheads="1"/>
          </p:cNvSpPr>
          <p:nvPr/>
        </p:nvSpPr>
        <p:spPr bwMode="auto">
          <a:xfrm>
            <a:off x="6982977" y="2388304"/>
            <a:ext cx="1423594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Desarrollo versión 2.0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91" name="Straight Connector 190"/>
          <p:cNvCxnSpPr/>
          <p:nvPr/>
        </p:nvCxnSpPr>
        <p:spPr>
          <a:xfrm>
            <a:off x="7045326" y="2347913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8" name="Group 197"/>
          <p:cNvGrpSpPr/>
          <p:nvPr/>
        </p:nvGrpSpPr>
        <p:grpSpPr>
          <a:xfrm>
            <a:off x="6660282" y="2131300"/>
            <a:ext cx="329804" cy="375047"/>
            <a:chOff x="9805987" y="1155701"/>
            <a:chExt cx="439738" cy="500062"/>
          </a:xfrm>
          <a:solidFill>
            <a:schemeClr val="accent1"/>
          </a:solidFill>
        </p:grpSpPr>
        <p:sp>
          <p:nvSpPr>
            <p:cNvPr id="196" name="Freeform 108"/>
            <p:cNvSpPr>
              <a:spLocks noEditPoints="1"/>
            </p:cNvSpPr>
            <p:nvPr/>
          </p:nvSpPr>
          <p:spPr bwMode="auto">
            <a:xfrm>
              <a:off x="9899650" y="1155701"/>
              <a:ext cx="252413" cy="125413"/>
            </a:xfrm>
            <a:custGeom>
              <a:avLst/>
              <a:gdLst>
                <a:gd name="T0" fmla="*/ 32 w 32"/>
                <a:gd name="T1" fmla="*/ 8 h 16"/>
                <a:gd name="T2" fmla="*/ 24 w 32"/>
                <a:gd name="T3" fmla="*/ 8 h 16"/>
                <a:gd name="T4" fmla="*/ 16 w 32"/>
                <a:gd name="T5" fmla="*/ 0 h 16"/>
                <a:gd name="T6" fmla="*/ 8 w 32"/>
                <a:gd name="T7" fmla="*/ 8 h 16"/>
                <a:gd name="T8" fmla="*/ 0 w 32"/>
                <a:gd name="T9" fmla="*/ 8 h 16"/>
                <a:gd name="T10" fmla="*/ 0 w 32"/>
                <a:gd name="T11" fmla="*/ 16 h 16"/>
                <a:gd name="T12" fmla="*/ 32 w 32"/>
                <a:gd name="T13" fmla="*/ 16 h 16"/>
                <a:gd name="T14" fmla="*/ 32 w 32"/>
                <a:gd name="T15" fmla="*/ 8 h 16"/>
                <a:gd name="T16" fmla="*/ 16 w 32"/>
                <a:gd name="T17" fmla="*/ 12 h 16"/>
                <a:gd name="T18" fmla="*/ 12 w 32"/>
                <a:gd name="T19" fmla="*/ 8 h 16"/>
                <a:gd name="T20" fmla="*/ 16 w 32"/>
                <a:gd name="T21" fmla="*/ 4 h 16"/>
                <a:gd name="T22" fmla="*/ 20 w 32"/>
                <a:gd name="T23" fmla="*/ 8 h 16"/>
                <a:gd name="T24" fmla="*/ 16 w 32"/>
                <a:gd name="T2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6">
                  <a:moveTo>
                    <a:pt x="32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20" y="0"/>
                    <a:pt x="16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2" y="16"/>
                    <a:pt x="32" y="16"/>
                    <a:pt x="32" y="16"/>
                  </a:cubicBezTo>
                  <a:lnTo>
                    <a:pt x="32" y="8"/>
                  </a:lnTo>
                  <a:close/>
                  <a:moveTo>
                    <a:pt x="16" y="12"/>
                  </a:moveTo>
                  <a:cubicBezTo>
                    <a:pt x="14" y="12"/>
                    <a:pt x="12" y="10"/>
                    <a:pt x="12" y="8"/>
                  </a:cubicBezTo>
                  <a:cubicBezTo>
                    <a:pt x="12" y="6"/>
                    <a:pt x="14" y="4"/>
                    <a:pt x="16" y="4"/>
                  </a:cubicBezTo>
                  <a:cubicBezTo>
                    <a:pt x="18" y="4"/>
                    <a:pt x="20" y="6"/>
                    <a:pt x="20" y="8"/>
                  </a:cubicBezTo>
                  <a:cubicBezTo>
                    <a:pt x="20" y="10"/>
                    <a:pt x="18" y="12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97" name="Freeform 109"/>
            <p:cNvSpPr>
              <a:spLocks noEditPoints="1"/>
            </p:cNvSpPr>
            <p:nvPr/>
          </p:nvSpPr>
          <p:spPr bwMode="auto">
            <a:xfrm>
              <a:off x="9805987" y="1217613"/>
              <a:ext cx="439738" cy="438150"/>
            </a:xfrm>
            <a:custGeom>
              <a:avLst/>
              <a:gdLst>
                <a:gd name="T0" fmla="*/ 237 w 277"/>
                <a:gd name="T1" fmla="*/ 0 h 276"/>
                <a:gd name="T2" fmla="*/ 237 w 277"/>
                <a:gd name="T3" fmla="*/ 59 h 276"/>
                <a:gd name="T4" fmla="*/ 40 w 277"/>
                <a:gd name="T5" fmla="*/ 59 h 276"/>
                <a:gd name="T6" fmla="*/ 40 w 277"/>
                <a:gd name="T7" fmla="*/ 0 h 276"/>
                <a:gd name="T8" fmla="*/ 0 w 277"/>
                <a:gd name="T9" fmla="*/ 0 h 276"/>
                <a:gd name="T10" fmla="*/ 0 w 277"/>
                <a:gd name="T11" fmla="*/ 276 h 276"/>
                <a:gd name="T12" fmla="*/ 277 w 277"/>
                <a:gd name="T13" fmla="*/ 276 h 276"/>
                <a:gd name="T14" fmla="*/ 277 w 277"/>
                <a:gd name="T15" fmla="*/ 0 h 276"/>
                <a:gd name="T16" fmla="*/ 237 w 277"/>
                <a:gd name="T17" fmla="*/ 0 h 276"/>
                <a:gd name="T18" fmla="*/ 129 w 277"/>
                <a:gd name="T19" fmla="*/ 232 h 276"/>
                <a:gd name="T20" fmla="*/ 114 w 277"/>
                <a:gd name="T21" fmla="*/ 222 h 276"/>
                <a:gd name="T22" fmla="*/ 59 w 277"/>
                <a:gd name="T23" fmla="*/ 163 h 276"/>
                <a:gd name="T24" fmla="*/ 89 w 277"/>
                <a:gd name="T25" fmla="*/ 138 h 276"/>
                <a:gd name="T26" fmla="*/ 129 w 277"/>
                <a:gd name="T27" fmla="*/ 178 h 276"/>
                <a:gd name="T28" fmla="*/ 208 w 277"/>
                <a:gd name="T29" fmla="*/ 99 h 276"/>
                <a:gd name="T30" fmla="*/ 237 w 277"/>
                <a:gd name="T31" fmla="*/ 128 h 276"/>
                <a:gd name="T32" fmla="*/ 129 w 277"/>
                <a:gd name="T33" fmla="*/ 23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6">
                  <a:moveTo>
                    <a:pt x="237" y="0"/>
                  </a:moveTo>
                  <a:lnTo>
                    <a:pt x="237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76"/>
                  </a:lnTo>
                  <a:lnTo>
                    <a:pt x="277" y="276"/>
                  </a:lnTo>
                  <a:lnTo>
                    <a:pt x="277" y="0"/>
                  </a:lnTo>
                  <a:lnTo>
                    <a:pt x="237" y="0"/>
                  </a:lnTo>
                  <a:close/>
                  <a:moveTo>
                    <a:pt x="129" y="232"/>
                  </a:moveTo>
                  <a:lnTo>
                    <a:pt x="114" y="222"/>
                  </a:lnTo>
                  <a:lnTo>
                    <a:pt x="59" y="163"/>
                  </a:lnTo>
                  <a:lnTo>
                    <a:pt x="89" y="138"/>
                  </a:lnTo>
                  <a:lnTo>
                    <a:pt x="129" y="178"/>
                  </a:lnTo>
                  <a:lnTo>
                    <a:pt x="208" y="99"/>
                  </a:lnTo>
                  <a:lnTo>
                    <a:pt x="237" y="128"/>
                  </a:lnTo>
                  <a:lnTo>
                    <a:pt x="129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202" name="TextBox 201"/>
          <p:cNvSpPr txBox="1"/>
          <p:nvPr/>
        </p:nvSpPr>
        <p:spPr>
          <a:xfrm>
            <a:off x="5573077" y="4897600"/>
            <a:ext cx="2331086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Pentesting Automatizado</a:t>
            </a:r>
            <a:endParaRPr lang="id-ID" sz="1400" b="1" dirty="0">
              <a:latin typeface="+mj-lt"/>
            </a:endParaRPr>
          </a:p>
        </p:txBody>
      </p:sp>
      <p:sp>
        <p:nvSpPr>
          <p:cNvPr id="203" name="Rectangle 202"/>
          <p:cNvSpPr>
            <a:spLocks noChangeArrowheads="1"/>
          </p:cNvSpPr>
          <p:nvPr/>
        </p:nvSpPr>
        <p:spPr bwMode="auto">
          <a:xfrm>
            <a:off x="5588808" y="5170090"/>
            <a:ext cx="2357099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atacar desarrollos internos con el fin de descubrir y explotar vulnerabilidades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04" name="Straight Connector 203"/>
          <p:cNvCxnSpPr/>
          <p:nvPr/>
        </p:nvCxnSpPr>
        <p:spPr>
          <a:xfrm>
            <a:off x="6723531" y="5170089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cxnSpLocks/>
            <a:endCxn id="62" idx="4"/>
          </p:cNvCxnSpPr>
          <p:nvPr/>
        </p:nvCxnSpPr>
        <p:spPr>
          <a:xfrm flipH="1" flipV="1">
            <a:off x="7192964" y="3360738"/>
            <a:ext cx="752943" cy="144145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>
            <a:cxnSpLocks/>
          </p:cNvCxnSpPr>
          <p:nvPr/>
        </p:nvCxnSpPr>
        <p:spPr>
          <a:xfrm flipH="1" flipV="1">
            <a:off x="7850189" y="3349626"/>
            <a:ext cx="622767" cy="766763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>
            <a:endCxn id="58" idx="0"/>
          </p:cNvCxnSpPr>
          <p:nvPr/>
        </p:nvCxnSpPr>
        <p:spPr>
          <a:xfrm flipH="1">
            <a:off x="8497888" y="2720975"/>
            <a:ext cx="112712" cy="37465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Freeform 7"/>
          <p:cNvSpPr>
            <a:spLocks/>
          </p:cNvSpPr>
          <p:nvPr/>
        </p:nvSpPr>
        <p:spPr bwMode="auto">
          <a:xfrm>
            <a:off x="7945907" y="4854401"/>
            <a:ext cx="355600" cy="347663"/>
          </a:xfrm>
          <a:custGeom>
            <a:avLst/>
            <a:gdLst>
              <a:gd name="T0" fmla="*/ 104 w 196"/>
              <a:gd name="T1" fmla="*/ 174 h 190"/>
              <a:gd name="T2" fmla="*/ 102 w 196"/>
              <a:gd name="T3" fmla="*/ 162 h 190"/>
              <a:gd name="T4" fmla="*/ 82 w 196"/>
              <a:gd name="T5" fmla="*/ 144 h 190"/>
              <a:gd name="T6" fmla="*/ 99 w 196"/>
              <a:gd name="T7" fmla="*/ 110 h 190"/>
              <a:gd name="T8" fmla="*/ 132 w 196"/>
              <a:gd name="T9" fmla="*/ 127 h 190"/>
              <a:gd name="T10" fmla="*/ 126 w 196"/>
              <a:gd name="T11" fmla="*/ 154 h 190"/>
              <a:gd name="T12" fmla="*/ 131 w 196"/>
              <a:gd name="T13" fmla="*/ 162 h 190"/>
              <a:gd name="T14" fmla="*/ 153 w 196"/>
              <a:gd name="T15" fmla="*/ 151 h 190"/>
              <a:gd name="T16" fmla="*/ 158 w 196"/>
              <a:gd name="T17" fmla="*/ 141 h 190"/>
              <a:gd name="T18" fmla="*/ 143 w 196"/>
              <a:gd name="T19" fmla="*/ 106 h 190"/>
              <a:gd name="T20" fmla="*/ 148 w 196"/>
              <a:gd name="T21" fmla="*/ 102 h 190"/>
              <a:gd name="T22" fmla="*/ 175 w 196"/>
              <a:gd name="T23" fmla="*/ 109 h 190"/>
              <a:gd name="T24" fmla="*/ 192 w 196"/>
              <a:gd name="T25" fmla="*/ 75 h 190"/>
              <a:gd name="T26" fmla="*/ 158 w 196"/>
              <a:gd name="T27" fmla="*/ 58 h 190"/>
              <a:gd name="T28" fmla="*/ 140 w 196"/>
              <a:gd name="T29" fmla="*/ 79 h 190"/>
              <a:gd name="T30" fmla="*/ 133 w 196"/>
              <a:gd name="T31" fmla="*/ 80 h 190"/>
              <a:gd name="T32" fmla="*/ 125 w 196"/>
              <a:gd name="T33" fmla="*/ 40 h 190"/>
              <a:gd name="T34" fmla="*/ 115 w 196"/>
              <a:gd name="T35" fmla="*/ 35 h 190"/>
              <a:gd name="T36" fmla="*/ 74 w 196"/>
              <a:gd name="T37" fmla="*/ 53 h 190"/>
              <a:gd name="T38" fmla="*/ 71 w 196"/>
              <a:gd name="T39" fmla="*/ 49 h 190"/>
              <a:gd name="T40" fmla="*/ 78 w 196"/>
              <a:gd name="T41" fmla="*/ 22 h 190"/>
              <a:gd name="T42" fmla="*/ 44 w 196"/>
              <a:gd name="T43" fmla="*/ 5 h 190"/>
              <a:gd name="T44" fmla="*/ 27 w 196"/>
              <a:gd name="T45" fmla="*/ 38 h 190"/>
              <a:gd name="T46" fmla="*/ 48 w 196"/>
              <a:gd name="T47" fmla="*/ 56 h 190"/>
              <a:gd name="T48" fmla="*/ 49 w 196"/>
              <a:gd name="T49" fmla="*/ 62 h 190"/>
              <a:gd name="T50" fmla="*/ 6 w 196"/>
              <a:gd name="T51" fmla="*/ 71 h 190"/>
              <a:gd name="T52" fmla="*/ 1 w 196"/>
              <a:gd name="T53" fmla="*/ 81 h 190"/>
              <a:gd name="T54" fmla="*/ 10 w 196"/>
              <a:gd name="T55" fmla="*/ 123 h 190"/>
              <a:gd name="T56" fmla="*/ 19 w 196"/>
              <a:gd name="T57" fmla="*/ 121 h 190"/>
              <a:gd name="T58" fmla="*/ 37 w 196"/>
              <a:gd name="T59" fmla="*/ 101 h 190"/>
              <a:gd name="T60" fmla="*/ 71 w 196"/>
              <a:gd name="T61" fmla="*/ 118 h 190"/>
              <a:gd name="T62" fmla="*/ 54 w 196"/>
              <a:gd name="T63" fmla="*/ 152 h 190"/>
              <a:gd name="T64" fmla="*/ 27 w 196"/>
              <a:gd name="T65" fmla="*/ 145 h 190"/>
              <a:gd name="T66" fmla="*/ 20 w 196"/>
              <a:gd name="T67" fmla="*/ 149 h 190"/>
              <a:gd name="T68" fmla="*/ 34 w 196"/>
              <a:gd name="T69" fmla="*/ 182 h 190"/>
              <a:gd name="T70" fmla="*/ 44 w 196"/>
              <a:gd name="T71" fmla="*/ 187 h 190"/>
              <a:gd name="T72" fmla="*/ 104 w 196"/>
              <a:gd name="T73" fmla="*/ 17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96" h="190">
                <a:moveTo>
                  <a:pt x="104" y="174"/>
                </a:moveTo>
                <a:cubicBezTo>
                  <a:pt x="102" y="162"/>
                  <a:pt x="102" y="162"/>
                  <a:pt x="102" y="162"/>
                </a:cubicBezTo>
                <a:cubicBezTo>
                  <a:pt x="93" y="160"/>
                  <a:pt x="85" y="153"/>
                  <a:pt x="82" y="144"/>
                </a:cubicBezTo>
                <a:cubicBezTo>
                  <a:pt x="77" y="130"/>
                  <a:pt x="85" y="115"/>
                  <a:pt x="99" y="110"/>
                </a:cubicBezTo>
                <a:cubicBezTo>
                  <a:pt x="113" y="106"/>
                  <a:pt x="128" y="113"/>
                  <a:pt x="132" y="127"/>
                </a:cubicBezTo>
                <a:cubicBezTo>
                  <a:pt x="135" y="137"/>
                  <a:pt x="133" y="147"/>
                  <a:pt x="126" y="154"/>
                </a:cubicBezTo>
                <a:cubicBezTo>
                  <a:pt x="131" y="162"/>
                  <a:pt x="131" y="162"/>
                  <a:pt x="131" y="162"/>
                </a:cubicBezTo>
                <a:cubicBezTo>
                  <a:pt x="144" y="156"/>
                  <a:pt x="153" y="151"/>
                  <a:pt x="153" y="151"/>
                </a:cubicBezTo>
                <a:cubicBezTo>
                  <a:pt x="157" y="150"/>
                  <a:pt x="159" y="145"/>
                  <a:pt x="158" y="141"/>
                </a:cubicBezTo>
                <a:cubicBezTo>
                  <a:pt x="158" y="141"/>
                  <a:pt x="151" y="125"/>
                  <a:pt x="143" y="106"/>
                </a:cubicBezTo>
                <a:cubicBezTo>
                  <a:pt x="148" y="102"/>
                  <a:pt x="148" y="102"/>
                  <a:pt x="148" y="102"/>
                </a:cubicBezTo>
                <a:cubicBezTo>
                  <a:pt x="154" y="109"/>
                  <a:pt x="165" y="112"/>
                  <a:pt x="175" y="109"/>
                </a:cubicBezTo>
                <a:cubicBezTo>
                  <a:pt x="189" y="104"/>
                  <a:pt x="196" y="89"/>
                  <a:pt x="192" y="75"/>
                </a:cubicBezTo>
                <a:cubicBezTo>
                  <a:pt x="187" y="61"/>
                  <a:pt x="172" y="54"/>
                  <a:pt x="158" y="58"/>
                </a:cubicBezTo>
                <a:cubicBezTo>
                  <a:pt x="148" y="61"/>
                  <a:pt x="142" y="70"/>
                  <a:pt x="140" y="79"/>
                </a:cubicBezTo>
                <a:cubicBezTo>
                  <a:pt x="133" y="80"/>
                  <a:pt x="133" y="80"/>
                  <a:pt x="133" y="80"/>
                </a:cubicBezTo>
                <a:cubicBezTo>
                  <a:pt x="129" y="65"/>
                  <a:pt x="125" y="50"/>
                  <a:pt x="125" y="40"/>
                </a:cubicBezTo>
                <a:cubicBezTo>
                  <a:pt x="121" y="37"/>
                  <a:pt x="119" y="34"/>
                  <a:pt x="115" y="35"/>
                </a:cubicBezTo>
                <a:cubicBezTo>
                  <a:pt x="115" y="35"/>
                  <a:pt x="96" y="44"/>
                  <a:pt x="74" y="53"/>
                </a:cubicBezTo>
                <a:cubicBezTo>
                  <a:pt x="71" y="49"/>
                  <a:pt x="71" y="49"/>
                  <a:pt x="71" y="49"/>
                </a:cubicBezTo>
                <a:cubicBezTo>
                  <a:pt x="78" y="42"/>
                  <a:pt x="81" y="32"/>
                  <a:pt x="78" y="22"/>
                </a:cubicBezTo>
                <a:cubicBezTo>
                  <a:pt x="73" y="8"/>
                  <a:pt x="58" y="0"/>
                  <a:pt x="44" y="5"/>
                </a:cubicBezTo>
                <a:cubicBezTo>
                  <a:pt x="30" y="9"/>
                  <a:pt x="23" y="24"/>
                  <a:pt x="27" y="38"/>
                </a:cubicBezTo>
                <a:cubicBezTo>
                  <a:pt x="31" y="48"/>
                  <a:pt x="39" y="54"/>
                  <a:pt x="48" y="56"/>
                </a:cubicBezTo>
                <a:cubicBezTo>
                  <a:pt x="49" y="62"/>
                  <a:pt x="49" y="62"/>
                  <a:pt x="49" y="62"/>
                </a:cubicBezTo>
                <a:cubicBezTo>
                  <a:pt x="31" y="68"/>
                  <a:pt x="14" y="73"/>
                  <a:pt x="6" y="71"/>
                </a:cubicBezTo>
                <a:cubicBezTo>
                  <a:pt x="2" y="74"/>
                  <a:pt x="0" y="77"/>
                  <a:pt x="1" y="81"/>
                </a:cubicBezTo>
                <a:cubicBezTo>
                  <a:pt x="0" y="90"/>
                  <a:pt x="5" y="106"/>
                  <a:pt x="10" y="123"/>
                </a:cubicBezTo>
                <a:cubicBezTo>
                  <a:pt x="19" y="121"/>
                  <a:pt x="19" y="121"/>
                  <a:pt x="19" y="121"/>
                </a:cubicBezTo>
                <a:cubicBezTo>
                  <a:pt x="21" y="112"/>
                  <a:pt x="28" y="104"/>
                  <a:pt x="37" y="101"/>
                </a:cubicBezTo>
                <a:cubicBezTo>
                  <a:pt x="51" y="96"/>
                  <a:pt x="66" y="104"/>
                  <a:pt x="71" y="118"/>
                </a:cubicBezTo>
                <a:cubicBezTo>
                  <a:pt x="75" y="132"/>
                  <a:pt x="68" y="147"/>
                  <a:pt x="54" y="152"/>
                </a:cubicBezTo>
                <a:cubicBezTo>
                  <a:pt x="44" y="155"/>
                  <a:pt x="34" y="152"/>
                  <a:pt x="27" y="145"/>
                </a:cubicBezTo>
                <a:cubicBezTo>
                  <a:pt x="20" y="149"/>
                  <a:pt x="20" y="149"/>
                  <a:pt x="20" y="149"/>
                </a:cubicBezTo>
                <a:cubicBezTo>
                  <a:pt x="28" y="168"/>
                  <a:pt x="34" y="182"/>
                  <a:pt x="34" y="182"/>
                </a:cubicBezTo>
                <a:cubicBezTo>
                  <a:pt x="36" y="186"/>
                  <a:pt x="36" y="186"/>
                  <a:pt x="44" y="187"/>
                </a:cubicBezTo>
                <a:cubicBezTo>
                  <a:pt x="57" y="190"/>
                  <a:pt x="81" y="183"/>
                  <a:pt x="104" y="1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17" name="TextBox 216"/>
          <p:cNvSpPr txBox="1"/>
          <p:nvPr/>
        </p:nvSpPr>
        <p:spPr>
          <a:xfrm>
            <a:off x="8864600" y="3933732"/>
            <a:ext cx="3068469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RobotPentester como certificador</a:t>
            </a:r>
            <a:endParaRPr lang="id-ID" sz="1400" b="1" dirty="0">
              <a:latin typeface="+mj-lt"/>
            </a:endParaRPr>
          </a:p>
        </p:txBody>
      </p:sp>
      <p:sp>
        <p:nvSpPr>
          <p:cNvPr id="218" name="Rectangle 217"/>
          <p:cNvSpPr>
            <a:spLocks noChangeArrowheads="1"/>
          </p:cNvSpPr>
          <p:nvPr/>
        </p:nvSpPr>
        <p:spPr bwMode="auto">
          <a:xfrm>
            <a:off x="8911970" y="4252812"/>
            <a:ext cx="221351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Definir RobotPentester como un agente certificador en desarrollos web 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19" name="Straight Connector 218"/>
          <p:cNvCxnSpPr/>
          <p:nvPr/>
        </p:nvCxnSpPr>
        <p:spPr>
          <a:xfrm>
            <a:off x="8911970" y="4210026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TextBox 221"/>
          <p:cNvSpPr txBox="1"/>
          <p:nvPr/>
        </p:nvSpPr>
        <p:spPr>
          <a:xfrm>
            <a:off x="8864600" y="2224993"/>
            <a:ext cx="1686680" cy="2862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b="1" dirty="0">
                <a:latin typeface="+mj-lt"/>
              </a:rPr>
              <a:t>Integración CI/CD</a:t>
            </a:r>
            <a:endParaRPr lang="id-ID" sz="1400" b="1" dirty="0">
              <a:latin typeface="+mj-lt"/>
            </a:endParaRPr>
          </a:p>
        </p:txBody>
      </p:sp>
      <p:sp>
        <p:nvSpPr>
          <p:cNvPr id="223" name="Rectangle 222"/>
          <p:cNvSpPr>
            <a:spLocks noChangeArrowheads="1"/>
          </p:cNvSpPr>
          <p:nvPr/>
        </p:nvSpPr>
        <p:spPr bwMode="auto">
          <a:xfrm>
            <a:off x="8864601" y="2493964"/>
            <a:ext cx="22225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s-MX" sz="1200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Integrar el robot en el proceso de integración continua en el marco DevSecOps</a:t>
            </a:r>
            <a:endParaRPr lang="id-ID" sz="1200" dirty="0">
              <a:solidFill>
                <a:schemeClr val="accent3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24" name="Straight Connector 223"/>
          <p:cNvCxnSpPr/>
          <p:nvPr/>
        </p:nvCxnSpPr>
        <p:spPr>
          <a:xfrm>
            <a:off x="8864600" y="2492375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/>
          <p:cNvGrpSpPr/>
          <p:nvPr/>
        </p:nvGrpSpPr>
        <p:grpSpPr>
          <a:xfrm>
            <a:off x="8558551" y="2377695"/>
            <a:ext cx="282179" cy="284560"/>
            <a:chOff x="8991600" y="793750"/>
            <a:chExt cx="376238" cy="379413"/>
          </a:xfrm>
          <a:solidFill>
            <a:schemeClr val="accent1"/>
          </a:solidFill>
        </p:grpSpPr>
        <p:sp>
          <p:nvSpPr>
            <p:cNvPr id="232" name="Freeform 113"/>
            <p:cNvSpPr>
              <a:spLocks noEditPoints="1"/>
            </p:cNvSpPr>
            <p:nvPr/>
          </p:nvSpPr>
          <p:spPr bwMode="auto">
            <a:xfrm>
              <a:off x="9102725" y="793750"/>
              <a:ext cx="265113" cy="266700"/>
            </a:xfrm>
            <a:custGeom>
              <a:avLst/>
              <a:gdLst>
                <a:gd name="T0" fmla="*/ 31 w 45"/>
                <a:gd name="T1" fmla="*/ 5 h 45"/>
                <a:gd name="T2" fmla="*/ 18 w 45"/>
                <a:gd name="T3" fmla="*/ 13 h 45"/>
                <a:gd name="T4" fmla="*/ 1 w 45"/>
                <a:gd name="T5" fmla="*/ 30 h 45"/>
                <a:gd name="T6" fmla="*/ 1 w 45"/>
                <a:gd name="T7" fmla="*/ 35 h 45"/>
                <a:gd name="T8" fmla="*/ 10 w 45"/>
                <a:gd name="T9" fmla="*/ 44 h 45"/>
                <a:gd name="T10" fmla="*/ 15 w 45"/>
                <a:gd name="T11" fmla="*/ 44 h 45"/>
                <a:gd name="T12" fmla="*/ 32 w 45"/>
                <a:gd name="T13" fmla="*/ 27 h 45"/>
                <a:gd name="T14" fmla="*/ 40 w 45"/>
                <a:gd name="T15" fmla="*/ 14 h 45"/>
                <a:gd name="T16" fmla="*/ 45 w 45"/>
                <a:gd name="T17" fmla="*/ 0 h 45"/>
                <a:gd name="T18" fmla="*/ 31 w 45"/>
                <a:gd name="T19" fmla="*/ 5 h 45"/>
                <a:gd name="T20" fmla="*/ 20 w 45"/>
                <a:gd name="T21" fmla="*/ 34 h 45"/>
                <a:gd name="T22" fmla="*/ 11 w 45"/>
                <a:gd name="T23" fmla="*/ 34 h 45"/>
                <a:gd name="T24" fmla="*/ 11 w 45"/>
                <a:gd name="T25" fmla="*/ 25 h 45"/>
                <a:gd name="T26" fmla="*/ 20 w 45"/>
                <a:gd name="T27" fmla="*/ 25 h 45"/>
                <a:gd name="T28" fmla="*/ 20 w 45"/>
                <a:gd name="T29" fmla="*/ 34 h 45"/>
                <a:gd name="T30" fmla="*/ 31 w 45"/>
                <a:gd name="T31" fmla="*/ 23 h 45"/>
                <a:gd name="T32" fmla="*/ 22 w 45"/>
                <a:gd name="T33" fmla="*/ 23 h 45"/>
                <a:gd name="T34" fmla="*/ 22 w 45"/>
                <a:gd name="T35" fmla="*/ 14 h 45"/>
                <a:gd name="T36" fmla="*/ 31 w 45"/>
                <a:gd name="T37" fmla="*/ 14 h 45"/>
                <a:gd name="T38" fmla="*/ 31 w 45"/>
                <a:gd name="T3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5">
                  <a:moveTo>
                    <a:pt x="31" y="5"/>
                  </a:moveTo>
                  <a:cubicBezTo>
                    <a:pt x="27" y="6"/>
                    <a:pt x="21" y="10"/>
                    <a:pt x="18" y="13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4"/>
                    <a:pt x="1" y="35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1" y="45"/>
                    <a:pt x="14" y="45"/>
                    <a:pt x="15" y="44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24"/>
                    <a:pt x="39" y="18"/>
                    <a:pt x="40" y="14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31" y="5"/>
                  </a:lnTo>
                  <a:close/>
                  <a:moveTo>
                    <a:pt x="20" y="34"/>
                  </a:moveTo>
                  <a:cubicBezTo>
                    <a:pt x="17" y="36"/>
                    <a:pt x="13" y="36"/>
                    <a:pt x="11" y="34"/>
                  </a:cubicBezTo>
                  <a:cubicBezTo>
                    <a:pt x="9" y="32"/>
                    <a:pt x="9" y="28"/>
                    <a:pt x="11" y="25"/>
                  </a:cubicBezTo>
                  <a:cubicBezTo>
                    <a:pt x="13" y="23"/>
                    <a:pt x="17" y="23"/>
                    <a:pt x="20" y="25"/>
                  </a:cubicBezTo>
                  <a:cubicBezTo>
                    <a:pt x="22" y="28"/>
                    <a:pt x="22" y="32"/>
                    <a:pt x="20" y="34"/>
                  </a:cubicBezTo>
                  <a:close/>
                  <a:moveTo>
                    <a:pt x="31" y="23"/>
                  </a:moveTo>
                  <a:cubicBezTo>
                    <a:pt x="29" y="25"/>
                    <a:pt x="25" y="25"/>
                    <a:pt x="22" y="23"/>
                  </a:cubicBezTo>
                  <a:cubicBezTo>
                    <a:pt x="20" y="20"/>
                    <a:pt x="20" y="16"/>
                    <a:pt x="22" y="14"/>
                  </a:cubicBezTo>
                  <a:cubicBezTo>
                    <a:pt x="25" y="12"/>
                    <a:pt x="29" y="12"/>
                    <a:pt x="31" y="14"/>
                  </a:cubicBezTo>
                  <a:cubicBezTo>
                    <a:pt x="33" y="16"/>
                    <a:pt x="33" y="20"/>
                    <a:pt x="3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3" name="Freeform 114"/>
            <p:cNvSpPr>
              <a:spLocks/>
            </p:cNvSpPr>
            <p:nvPr/>
          </p:nvSpPr>
          <p:spPr bwMode="auto">
            <a:xfrm>
              <a:off x="9002713" y="900113"/>
              <a:ext cx="123825" cy="112713"/>
            </a:xfrm>
            <a:custGeom>
              <a:avLst/>
              <a:gdLst>
                <a:gd name="T0" fmla="*/ 7 w 21"/>
                <a:gd name="T1" fmla="*/ 17 h 19"/>
                <a:gd name="T2" fmla="*/ 21 w 21"/>
                <a:gd name="T3" fmla="*/ 3 h 19"/>
                <a:gd name="T4" fmla="*/ 10 w 21"/>
                <a:gd name="T5" fmla="*/ 3 h 19"/>
                <a:gd name="T6" fmla="*/ 1 w 21"/>
                <a:gd name="T7" fmla="*/ 12 h 19"/>
                <a:gd name="T8" fmla="*/ 1 w 21"/>
                <a:gd name="T9" fmla="*/ 17 h 19"/>
                <a:gd name="T10" fmla="*/ 7 w 21"/>
                <a:gd name="T11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9">
                  <a:moveTo>
                    <a:pt x="7" y="17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8" y="0"/>
                    <a:pt x="13" y="0"/>
                    <a:pt x="10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6"/>
                    <a:pt x="1" y="17"/>
                  </a:cubicBezTo>
                  <a:cubicBezTo>
                    <a:pt x="3" y="19"/>
                    <a:pt x="5" y="19"/>
                    <a:pt x="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4" name="Freeform 115"/>
            <p:cNvSpPr>
              <a:spLocks/>
            </p:cNvSpPr>
            <p:nvPr/>
          </p:nvSpPr>
          <p:spPr bwMode="auto">
            <a:xfrm>
              <a:off x="9150350" y="1036638"/>
              <a:ext cx="111125" cy="125413"/>
            </a:xfrm>
            <a:custGeom>
              <a:avLst/>
              <a:gdLst>
                <a:gd name="T0" fmla="*/ 2 w 19"/>
                <a:gd name="T1" fmla="*/ 14 h 21"/>
                <a:gd name="T2" fmla="*/ 2 w 19"/>
                <a:gd name="T3" fmla="*/ 20 h 21"/>
                <a:gd name="T4" fmla="*/ 7 w 19"/>
                <a:gd name="T5" fmla="*/ 20 h 21"/>
                <a:gd name="T6" fmla="*/ 16 w 19"/>
                <a:gd name="T7" fmla="*/ 11 h 21"/>
                <a:gd name="T8" fmla="*/ 16 w 19"/>
                <a:gd name="T9" fmla="*/ 0 h 21"/>
                <a:gd name="T10" fmla="*/ 2 w 19"/>
                <a:gd name="T1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1">
                  <a:moveTo>
                    <a:pt x="2" y="14"/>
                  </a:moveTo>
                  <a:cubicBezTo>
                    <a:pt x="0" y="16"/>
                    <a:pt x="0" y="18"/>
                    <a:pt x="2" y="20"/>
                  </a:cubicBezTo>
                  <a:cubicBezTo>
                    <a:pt x="3" y="21"/>
                    <a:pt x="6" y="21"/>
                    <a:pt x="7" y="2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8"/>
                    <a:pt x="19" y="3"/>
                    <a:pt x="16" y="0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5" name="Freeform 116"/>
            <p:cNvSpPr>
              <a:spLocks/>
            </p:cNvSpPr>
            <p:nvPr/>
          </p:nvSpPr>
          <p:spPr bwMode="auto">
            <a:xfrm>
              <a:off x="9078913" y="1019175"/>
              <a:ext cx="65088" cy="65088"/>
            </a:xfrm>
            <a:custGeom>
              <a:avLst/>
              <a:gdLst>
                <a:gd name="T0" fmla="*/ 1 w 11"/>
                <a:gd name="T1" fmla="*/ 2 h 11"/>
                <a:gd name="T2" fmla="*/ 1 w 11"/>
                <a:gd name="T3" fmla="*/ 4 h 11"/>
                <a:gd name="T4" fmla="*/ 7 w 11"/>
                <a:gd name="T5" fmla="*/ 10 h 11"/>
                <a:gd name="T6" fmla="*/ 9 w 11"/>
                <a:gd name="T7" fmla="*/ 10 h 11"/>
                <a:gd name="T8" fmla="*/ 11 w 11"/>
                <a:gd name="T9" fmla="*/ 9 h 11"/>
                <a:gd name="T10" fmla="*/ 2 w 11"/>
                <a:gd name="T11" fmla="*/ 0 h 11"/>
                <a:gd name="T12" fmla="*/ 1 w 11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">
                  <a:moveTo>
                    <a:pt x="1" y="2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9" y="11"/>
                    <a:pt x="9" y="10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6" name="Freeform 117"/>
            <p:cNvSpPr>
              <a:spLocks/>
            </p:cNvSpPr>
            <p:nvPr/>
          </p:nvSpPr>
          <p:spPr bwMode="auto">
            <a:xfrm>
              <a:off x="8991600" y="1054100"/>
              <a:ext cx="117475" cy="119063"/>
            </a:xfrm>
            <a:custGeom>
              <a:avLst/>
              <a:gdLst>
                <a:gd name="T0" fmla="*/ 0 w 20"/>
                <a:gd name="T1" fmla="*/ 20 h 20"/>
                <a:gd name="T2" fmla="*/ 16 w 20"/>
                <a:gd name="T3" fmla="*/ 4 h 20"/>
                <a:gd name="T4" fmla="*/ 0 w 20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0">
                  <a:moveTo>
                    <a:pt x="0" y="20"/>
                  </a:moveTo>
                  <a:cubicBezTo>
                    <a:pt x="8" y="16"/>
                    <a:pt x="20" y="8"/>
                    <a:pt x="16" y="4"/>
                  </a:cubicBezTo>
                  <a:cubicBezTo>
                    <a:pt x="12" y="0"/>
                    <a:pt x="4" y="12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8577263" y="4028263"/>
            <a:ext cx="291162" cy="310371"/>
            <a:chOff x="10431463" y="3421063"/>
            <a:chExt cx="457200" cy="487363"/>
          </a:xfrm>
          <a:solidFill>
            <a:schemeClr val="accent1"/>
          </a:solidFill>
        </p:grpSpPr>
        <p:sp>
          <p:nvSpPr>
            <p:cNvPr id="243" name="Freeform 121"/>
            <p:cNvSpPr>
              <a:spLocks noEditPoints="1"/>
            </p:cNvSpPr>
            <p:nvPr/>
          </p:nvSpPr>
          <p:spPr bwMode="auto">
            <a:xfrm>
              <a:off x="10706100" y="3603626"/>
              <a:ext cx="182563" cy="304800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4 w 24"/>
                <a:gd name="T5" fmla="*/ 21 h 40"/>
                <a:gd name="T6" fmla="*/ 4 w 24"/>
                <a:gd name="T7" fmla="*/ 40 h 40"/>
                <a:gd name="T8" fmla="*/ 12 w 24"/>
                <a:gd name="T9" fmla="*/ 32 h 40"/>
                <a:gd name="T10" fmla="*/ 20 w 24"/>
                <a:gd name="T11" fmla="*/ 40 h 40"/>
                <a:gd name="T12" fmla="*/ 20 w 24"/>
                <a:gd name="T13" fmla="*/ 21 h 40"/>
                <a:gd name="T14" fmla="*/ 24 w 24"/>
                <a:gd name="T15" fmla="*/ 12 h 40"/>
                <a:gd name="T16" fmla="*/ 12 w 24"/>
                <a:gd name="T17" fmla="*/ 0 h 40"/>
                <a:gd name="T18" fmla="*/ 12 w 24"/>
                <a:gd name="T19" fmla="*/ 20 h 40"/>
                <a:gd name="T20" fmla="*/ 4 w 24"/>
                <a:gd name="T21" fmla="*/ 12 h 40"/>
                <a:gd name="T22" fmla="*/ 12 w 24"/>
                <a:gd name="T23" fmla="*/ 4 h 40"/>
                <a:gd name="T24" fmla="*/ 20 w 24"/>
                <a:gd name="T25" fmla="*/ 12 h 40"/>
                <a:gd name="T26" fmla="*/ 12 w 24"/>
                <a:gd name="T2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6"/>
                    <a:pt x="2" y="19"/>
                    <a:pt x="4" y="2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9"/>
                    <a:pt x="24" y="16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  <a:moveTo>
                    <a:pt x="12" y="20"/>
                  </a:move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4" name="Freeform 122"/>
            <p:cNvSpPr>
              <a:spLocks/>
            </p:cNvSpPr>
            <p:nvPr/>
          </p:nvSpPr>
          <p:spPr bwMode="auto">
            <a:xfrm>
              <a:off x="10431463" y="3421063"/>
              <a:ext cx="396875" cy="487363"/>
            </a:xfrm>
            <a:custGeom>
              <a:avLst/>
              <a:gdLst>
                <a:gd name="T0" fmla="*/ 130 w 250"/>
                <a:gd name="T1" fmla="*/ 269 h 307"/>
                <a:gd name="T2" fmla="*/ 38 w 250"/>
                <a:gd name="T3" fmla="*/ 269 h 307"/>
                <a:gd name="T4" fmla="*/ 38 w 250"/>
                <a:gd name="T5" fmla="*/ 38 h 307"/>
                <a:gd name="T6" fmla="*/ 144 w 250"/>
                <a:gd name="T7" fmla="*/ 38 h 307"/>
                <a:gd name="T8" fmla="*/ 202 w 250"/>
                <a:gd name="T9" fmla="*/ 96 h 307"/>
                <a:gd name="T10" fmla="*/ 250 w 250"/>
                <a:gd name="T11" fmla="*/ 96 h 307"/>
                <a:gd name="T12" fmla="*/ 250 w 250"/>
                <a:gd name="T13" fmla="*/ 86 h 307"/>
                <a:gd name="T14" fmla="*/ 163 w 250"/>
                <a:gd name="T15" fmla="*/ 0 h 307"/>
                <a:gd name="T16" fmla="*/ 0 w 250"/>
                <a:gd name="T17" fmla="*/ 0 h 307"/>
                <a:gd name="T18" fmla="*/ 0 w 250"/>
                <a:gd name="T19" fmla="*/ 307 h 307"/>
                <a:gd name="T20" fmla="*/ 163 w 250"/>
                <a:gd name="T21" fmla="*/ 307 h 307"/>
                <a:gd name="T22" fmla="*/ 130 w 250"/>
                <a:gd name="T23" fmla="*/ 269 h 307"/>
                <a:gd name="T24" fmla="*/ 130 w 250"/>
                <a:gd name="T25" fmla="*/ 26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0" h="307">
                  <a:moveTo>
                    <a:pt x="130" y="269"/>
                  </a:moveTo>
                  <a:lnTo>
                    <a:pt x="38" y="269"/>
                  </a:lnTo>
                  <a:lnTo>
                    <a:pt x="38" y="38"/>
                  </a:lnTo>
                  <a:lnTo>
                    <a:pt x="144" y="38"/>
                  </a:lnTo>
                  <a:lnTo>
                    <a:pt x="202" y="96"/>
                  </a:lnTo>
                  <a:lnTo>
                    <a:pt x="250" y="96"/>
                  </a:lnTo>
                  <a:lnTo>
                    <a:pt x="250" y="86"/>
                  </a:lnTo>
                  <a:lnTo>
                    <a:pt x="163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163" y="307"/>
                  </a:lnTo>
                  <a:lnTo>
                    <a:pt x="130" y="269"/>
                  </a:lnTo>
                  <a:lnTo>
                    <a:pt x="130" y="2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5" name="Rectangle 123"/>
            <p:cNvSpPr>
              <a:spLocks noChangeArrowheads="1"/>
            </p:cNvSpPr>
            <p:nvPr/>
          </p:nvSpPr>
          <p:spPr bwMode="auto">
            <a:xfrm>
              <a:off x="10523538" y="3573463"/>
              <a:ext cx="152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6" name="Rectangle 124"/>
            <p:cNvSpPr>
              <a:spLocks noChangeArrowheads="1"/>
            </p:cNvSpPr>
            <p:nvPr/>
          </p:nvSpPr>
          <p:spPr bwMode="auto">
            <a:xfrm>
              <a:off x="10523538" y="3633788"/>
              <a:ext cx="152400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7" name="Rectangle 125"/>
            <p:cNvSpPr>
              <a:spLocks noChangeArrowheads="1"/>
            </p:cNvSpPr>
            <p:nvPr/>
          </p:nvSpPr>
          <p:spPr bwMode="auto">
            <a:xfrm>
              <a:off x="10523538" y="3695701"/>
              <a:ext cx="152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pic>
        <p:nvPicPr>
          <p:cNvPr id="7" name="Imagen 6">
            <a:extLst>
              <a:ext uri="{FF2B5EF4-FFF2-40B4-BE49-F238E27FC236}">
                <a16:creationId xmlns:a16="http://schemas.microsoft.com/office/drawing/2014/main" id="{7A4B616E-7439-3EA1-FDC4-C7D5E436A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8893" y="22893"/>
            <a:ext cx="943107" cy="9526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8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9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9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9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10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10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9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1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1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 nodeType="afterGroup">
                            <p:stCondLst>
                              <p:cond delay="11500"/>
                            </p:stCondLst>
                            <p:childTnLst>
                              <p:par>
                                <p:cTn id="1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1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 nodeType="afterGroup">
                            <p:stCondLst>
                              <p:cond delay="12500"/>
                            </p:stCondLst>
                            <p:childTnLst>
                              <p:par>
                                <p:cTn id="1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1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1" fill="hold" nodeType="afterGroup">
                            <p:stCondLst>
                              <p:cond delay="13500"/>
                            </p:stCondLst>
                            <p:childTnLst>
                              <p:par>
                                <p:cTn id="2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3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2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56" grpId="0" animBg="1"/>
      <p:bldP spid="58" grpId="0" animBg="1"/>
      <p:bldP spid="60" grpId="0" animBg="1"/>
      <p:bldP spid="62" grpId="0" animBg="1"/>
      <p:bldP spid="64" grpId="0" animBg="1"/>
      <p:bldP spid="65" grpId="0" animBg="1"/>
      <p:bldP spid="67" grpId="0" animBg="1"/>
      <p:bldP spid="70" grpId="0" animBg="1"/>
      <p:bldP spid="71" grpId="0" animBg="1"/>
      <p:bldP spid="84" grpId="0"/>
      <p:bldP spid="85" grpId="0"/>
      <p:bldP spid="96" grpId="0"/>
      <p:bldP spid="97" grpId="0"/>
      <p:bldP spid="136" grpId="0"/>
      <p:bldP spid="137" grpId="0"/>
      <p:bldP spid="156" grpId="0"/>
      <p:bldP spid="157" grpId="0"/>
      <p:bldP spid="176" grpId="0"/>
      <p:bldP spid="177" grpId="0"/>
      <p:bldP spid="189" grpId="0"/>
      <p:bldP spid="190" grpId="0"/>
      <p:bldP spid="202" grpId="0"/>
      <p:bldP spid="203" grpId="0"/>
      <p:bldP spid="217" grpId="0"/>
      <p:bldP spid="218" grpId="0"/>
      <p:bldP spid="222" grpId="0"/>
      <p:bldP spid="22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219;p3">
            <a:extLst>
              <a:ext uri="{FF2B5EF4-FFF2-40B4-BE49-F238E27FC236}">
                <a16:creationId xmlns:a16="http://schemas.microsoft.com/office/drawing/2014/main" id="{D75E6674-9842-6FF3-6719-B1467B010B8C}"/>
              </a:ext>
            </a:extLst>
          </p:cNvPr>
          <p:cNvSpPr txBox="1"/>
          <p:nvPr/>
        </p:nvSpPr>
        <p:spPr>
          <a:xfrm>
            <a:off x="816201" y="486674"/>
            <a:ext cx="4117464" cy="618796"/>
          </a:xfrm>
          <a:prstGeom prst="rect">
            <a:avLst/>
          </a:prstGeom>
        </p:spPr>
        <p:txBody>
          <a:bodyPr spcFirstLastPara="1" lIns="0" tIns="0" rIns="0" bIns="0" anchorCtr="0">
            <a:noAutofit/>
          </a:bodyPr>
          <a:lstStyle/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CL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etodología</a:t>
            </a:r>
            <a:r>
              <a:rPr lang="en-US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Cascada</a:t>
            </a:r>
          </a:p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endParaRPr lang="en-US" sz="32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endParaRPr lang="en-US" sz="3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Google Shape;244;p6">
            <a:extLst>
              <a:ext uri="{FF2B5EF4-FFF2-40B4-BE49-F238E27FC236}">
                <a16:creationId xmlns:a16="http://schemas.microsoft.com/office/drawing/2014/main" id="{88DBF498-7FAB-EA50-A2E2-4A4B95A0A87C}"/>
              </a:ext>
            </a:extLst>
          </p:cNvPr>
          <p:cNvSpPr txBox="1"/>
          <p:nvPr/>
        </p:nvSpPr>
        <p:spPr>
          <a:xfrm>
            <a:off x="816201" y="1603288"/>
            <a:ext cx="3708032" cy="2738437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/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CL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incipales</a:t>
            </a: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es-CL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azones</a:t>
            </a: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:</a:t>
            </a: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structurado</a:t>
            </a: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r>
              <a:rPr lang="es-E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ocumentación</a:t>
            </a: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Detallada</a:t>
            </a: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r>
              <a:rPr lang="es-CL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cesos</a:t>
            </a: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es-CL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petibles</a:t>
            </a: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yecto bien </a:t>
            </a:r>
            <a:r>
              <a:rPr lang="es-CL" sz="2200" dirty="0">
                <a:solidFill>
                  <a:schemeClr val="accent3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finido</a:t>
            </a:r>
          </a:p>
        </p:txBody>
      </p:sp>
      <p:sp>
        <p:nvSpPr>
          <p:cNvPr id="2" name="Marcador de número de diapositiva 1" hidden="1">
            <a:extLst>
              <a:ext uri="{FF2B5EF4-FFF2-40B4-BE49-F238E27FC236}">
                <a16:creationId xmlns:a16="http://schemas.microsoft.com/office/drawing/2014/main" id="{6F4F9363-1198-A470-234A-F571C57104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890709" y="6617652"/>
            <a:ext cx="1844164" cy="240348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1</a:t>
            </a:fld>
            <a:endParaRPr lang="es-CL" dirty="0"/>
          </a:p>
        </p:txBody>
      </p:sp>
      <p:graphicFrame>
        <p:nvGraphicFramePr>
          <p:cNvPr id="7" name="Diagrama 6">
            <a:extLst>
              <a:ext uri="{FF2B5EF4-FFF2-40B4-BE49-F238E27FC236}">
                <a16:creationId xmlns:a16="http://schemas.microsoft.com/office/drawing/2014/main" id="{B4F1028A-FBFD-8528-5E94-FF00B11B12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8581784"/>
              </p:ext>
            </p:extLst>
          </p:nvPr>
        </p:nvGraphicFramePr>
        <p:xfrm>
          <a:off x="3864245" y="1446425"/>
          <a:ext cx="9144002" cy="4419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29791030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58D7B7-529D-4457-F42B-5663080A98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6297" y="479388"/>
            <a:ext cx="3876916" cy="1300367"/>
          </a:xfrm>
        </p:spPr>
        <p:txBody>
          <a:bodyPr/>
          <a:lstStyle/>
          <a:p>
            <a:r>
              <a:rPr lang="es-CL" sz="3200" dirty="0">
                <a:solidFill>
                  <a:schemeClr val="bg2">
                    <a:lumMod val="75000"/>
                  </a:schemeClr>
                </a:solidFill>
              </a:rPr>
              <a:t>Tecnologías</a:t>
            </a:r>
          </a:p>
        </p:txBody>
      </p:sp>
      <p:sp>
        <p:nvSpPr>
          <p:cNvPr id="7" name="Google Shape;339;p12">
            <a:extLst>
              <a:ext uri="{FF2B5EF4-FFF2-40B4-BE49-F238E27FC236}">
                <a16:creationId xmlns:a16="http://schemas.microsoft.com/office/drawing/2014/main" id="{344F8ECF-F2E1-94D5-ED3C-B029269F3120}"/>
              </a:ext>
            </a:extLst>
          </p:cNvPr>
          <p:cNvSpPr/>
          <p:nvPr/>
        </p:nvSpPr>
        <p:spPr>
          <a:xfrm>
            <a:off x="806297" y="1698113"/>
            <a:ext cx="1648823" cy="1182404"/>
          </a:xfrm>
          <a:custGeom>
            <a:avLst/>
            <a:gdLst/>
            <a:ahLst/>
            <a:cxnLst/>
            <a:rect l="l" t="t" r="r" b="b"/>
            <a:pathLst>
              <a:path w="3752510" h="2501674" extrusionOk="0">
                <a:moveTo>
                  <a:pt x="0" y="0"/>
                </a:moveTo>
                <a:lnTo>
                  <a:pt x="3752510" y="0"/>
                </a:lnTo>
                <a:lnTo>
                  <a:pt x="3752510" y="2501674"/>
                </a:lnTo>
                <a:lnTo>
                  <a:pt x="0" y="25016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s-CL" sz="1600" dirty="0"/>
          </a:p>
        </p:txBody>
      </p:sp>
      <p:grpSp>
        <p:nvGrpSpPr>
          <p:cNvPr id="11" name="Google Shape;343;p12">
            <a:extLst>
              <a:ext uri="{FF2B5EF4-FFF2-40B4-BE49-F238E27FC236}">
                <a16:creationId xmlns:a16="http://schemas.microsoft.com/office/drawing/2014/main" id="{D68FEE23-F92D-9BF9-E620-4FE9DAF57CCD}"/>
              </a:ext>
            </a:extLst>
          </p:cNvPr>
          <p:cNvGrpSpPr/>
          <p:nvPr/>
        </p:nvGrpSpPr>
        <p:grpSpPr>
          <a:xfrm>
            <a:off x="2824736" y="1711912"/>
            <a:ext cx="4203988" cy="1005520"/>
            <a:chOff x="137087" y="0"/>
            <a:chExt cx="9800394" cy="2490494"/>
          </a:xfrm>
        </p:grpSpPr>
        <p:sp>
          <p:nvSpPr>
            <p:cNvPr id="12" name="Google Shape;344;p12">
              <a:extLst>
                <a:ext uri="{FF2B5EF4-FFF2-40B4-BE49-F238E27FC236}">
                  <a16:creationId xmlns:a16="http://schemas.microsoft.com/office/drawing/2014/main" id="{19A61BC7-9053-C611-E6D3-49C020D21FFC}"/>
                </a:ext>
              </a:extLst>
            </p:cNvPr>
            <p:cNvSpPr/>
            <p:nvPr/>
          </p:nvSpPr>
          <p:spPr>
            <a:xfrm>
              <a:off x="5509937" y="0"/>
              <a:ext cx="4427544" cy="2490494"/>
            </a:xfrm>
            <a:custGeom>
              <a:avLst/>
              <a:gdLst/>
              <a:ahLst/>
              <a:cxnLst/>
              <a:rect l="l" t="t" r="r" b="b"/>
              <a:pathLst>
                <a:path w="4427544" h="2490494" extrusionOk="0">
                  <a:moveTo>
                    <a:pt x="0" y="0"/>
                  </a:moveTo>
                  <a:lnTo>
                    <a:pt x="4427544" y="0"/>
                  </a:lnTo>
                  <a:lnTo>
                    <a:pt x="4427544" y="2490494"/>
                  </a:lnTo>
                  <a:lnTo>
                    <a:pt x="0" y="2490494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s-CL" sz="1600" dirty="0"/>
            </a:p>
          </p:txBody>
        </p:sp>
        <p:sp>
          <p:nvSpPr>
            <p:cNvPr id="13" name="Google Shape;345;p12">
              <a:extLst>
                <a:ext uri="{FF2B5EF4-FFF2-40B4-BE49-F238E27FC236}">
                  <a16:creationId xmlns:a16="http://schemas.microsoft.com/office/drawing/2014/main" id="{AF911DD3-F575-1737-C170-6A21F3CC9DBB}"/>
                </a:ext>
              </a:extLst>
            </p:cNvPr>
            <p:cNvSpPr/>
            <p:nvPr/>
          </p:nvSpPr>
          <p:spPr>
            <a:xfrm>
              <a:off x="137087" y="66955"/>
              <a:ext cx="3652879" cy="1873437"/>
            </a:xfrm>
            <a:custGeom>
              <a:avLst/>
              <a:gdLst/>
              <a:ahLst/>
              <a:cxnLst/>
              <a:rect l="l" t="t" r="r" b="b"/>
              <a:pathLst>
                <a:path w="3652879" h="1873437" extrusionOk="0">
                  <a:moveTo>
                    <a:pt x="0" y="0"/>
                  </a:moveTo>
                  <a:lnTo>
                    <a:pt x="3652878" y="0"/>
                  </a:lnTo>
                  <a:lnTo>
                    <a:pt x="3652878" y="1873438"/>
                  </a:lnTo>
                  <a:lnTo>
                    <a:pt x="0" y="187343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4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s-CL" sz="1600" dirty="0"/>
            </a:p>
          </p:txBody>
        </p:sp>
      </p:grpSp>
      <p:sp>
        <p:nvSpPr>
          <p:cNvPr id="16" name="Google Shape;348;p12">
            <a:extLst>
              <a:ext uri="{FF2B5EF4-FFF2-40B4-BE49-F238E27FC236}">
                <a16:creationId xmlns:a16="http://schemas.microsoft.com/office/drawing/2014/main" id="{AC839AAD-E6F2-2172-85E0-2B5011201605}"/>
              </a:ext>
            </a:extLst>
          </p:cNvPr>
          <p:cNvSpPr/>
          <p:nvPr/>
        </p:nvSpPr>
        <p:spPr>
          <a:xfrm>
            <a:off x="680518" y="3036085"/>
            <a:ext cx="2124370" cy="1552665"/>
          </a:xfrm>
          <a:custGeom>
            <a:avLst/>
            <a:gdLst/>
            <a:ahLst/>
            <a:cxnLst/>
            <a:rect l="l" t="t" r="r" b="b"/>
            <a:pathLst>
              <a:path w="3170909" h="2110096" extrusionOk="0">
                <a:moveTo>
                  <a:pt x="0" y="0"/>
                </a:moveTo>
                <a:lnTo>
                  <a:pt x="3170909" y="0"/>
                </a:lnTo>
                <a:lnTo>
                  <a:pt x="3170909" y="2110096"/>
                </a:lnTo>
                <a:lnTo>
                  <a:pt x="0" y="211009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s-CL" sz="1600" dirty="0"/>
          </a:p>
        </p:txBody>
      </p:sp>
      <p:pic>
        <p:nvPicPr>
          <p:cNvPr id="2050" name="Picture 2" descr="Buenas prácticas JMeter – Onesait Platform Community">
            <a:extLst>
              <a:ext uri="{FF2B5EF4-FFF2-40B4-BE49-F238E27FC236}">
                <a16:creationId xmlns:a16="http://schemas.microsoft.com/office/drawing/2014/main" id="{F90CDF32-F788-26F3-82C4-06750B6F4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477" y="3135961"/>
            <a:ext cx="2124370" cy="118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blue whale with a container on it&#10;&#10;Description automatically generated">
            <a:extLst>
              <a:ext uri="{FF2B5EF4-FFF2-40B4-BE49-F238E27FC236}">
                <a16:creationId xmlns:a16="http://schemas.microsoft.com/office/drawing/2014/main" id="{D41DB79E-A544-32FA-ACFC-E6C07CBD2DD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96" b="99926" l="3313" r="97875">
                        <a14:foregroundMark x1="3313" y1="40774" x2="91938" y2="41518"/>
                        <a14:foregroundMark x1="89625" y1="27455" x2="97875" y2="27455"/>
                        <a14:foregroundMark x1="16938" y1="76711" x2="19250" y2="80208"/>
                        <a14:foregroundMark x1="28750" y1="84449" x2="39938" y2="92188"/>
                        <a14:foregroundMark x1="51750" y1="82292" x2="62438" y2="99926"/>
                        <a14:foregroundMark x1="58875" y1="78125" x2="68313" y2="82292"/>
                        <a14:foregroundMark x1="73063" y1="90030" x2="90750" y2="851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899" y="3115875"/>
            <a:ext cx="1184202" cy="994729"/>
          </a:xfrm>
          <a:prstGeom prst="rect">
            <a:avLst/>
          </a:prstGeom>
        </p:spPr>
      </p:pic>
      <p:pic>
        <p:nvPicPr>
          <p:cNvPr id="17" name="Picture 16" descr="A blue rectangle with text&#10;&#10;Description automatically generated">
            <a:extLst>
              <a:ext uri="{FF2B5EF4-FFF2-40B4-BE49-F238E27FC236}">
                <a16:creationId xmlns:a16="http://schemas.microsoft.com/office/drawing/2014/main" id="{CB27DEFC-D92D-BF9B-E843-E89C267746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736" y="4553920"/>
            <a:ext cx="1838547" cy="1253555"/>
          </a:xfrm>
          <a:prstGeom prst="rect">
            <a:avLst/>
          </a:prstGeom>
        </p:spPr>
      </p:pic>
      <p:sp>
        <p:nvSpPr>
          <p:cNvPr id="2" name="AutoShape 2" descr="OWASP ZAP | Forward Security">
            <a:extLst>
              <a:ext uri="{FF2B5EF4-FFF2-40B4-BE49-F238E27FC236}">
                <a16:creationId xmlns:a16="http://schemas.microsoft.com/office/drawing/2014/main" id="{6513AB11-B706-DEB4-7887-639EA7DAAA1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83965" y="3262989"/>
            <a:ext cx="1411406" cy="1411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 dirty="0"/>
          </a:p>
        </p:txBody>
      </p:sp>
      <p:pic>
        <p:nvPicPr>
          <p:cNvPr id="18" name="Imagen 17" descr="Logotipo&#10;&#10;Descripción generada automáticamente">
            <a:extLst>
              <a:ext uri="{FF2B5EF4-FFF2-40B4-BE49-F238E27FC236}">
                <a16:creationId xmlns:a16="http://schemas.microsoft.com/office/drawing/2014/main" id="{8832C31F-1211-3F85-7080-3C746F57B25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626" y="4509047"/>
            <a:ext cx="2583708" cy="145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7126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83AF8-077D-0A48-CD77-0AF65A3BEB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14D4B85-B6E4-EDE4-D2C0-C4E9FC1A2A7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3</a:t>
            </a:fld>
            <a:endParaRPr lang="es-CL"/>
          </a:p>
        </p:txBody>
      </p:sp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D57720EE-2B6F-013A-FEFF-3E147208BA90}"/>
              </a:ext>
            </a:extLst>
          </p:cNvPr>
          <p:cNvSpPr txBox="1">
            <a:spLocks/>
          </p:cNvSpPr>
          <p:nvPr/>
        </p:nvSpPr>
        <p:spPr>
          <a:xfrm>
            <a:off x="476471" y="721459"/>
            <a:ext cx="4350907" cy="1300367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3200" dirty="0">
                <a:solidFill>
                  <a:schemeClr val="bg2">
                    <a:lumMod val="75000"/>
                  </a:schemeClr>
                </a:solidFill>
              </a:rPr>
              <a:t>¿Hacia dónde vamos?</a:t>
            </a: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87DDD80C-F01B-4503-4E8F-3DC6E1AEA2A7}"/>
              </a:ext>
            </a:extLst>
          </p:cNvPr>
          <p:cNvSpPr/>
          <p:nvPr/>
        </p:nvSpPr>
        <p:spPr>
          <a:xfrm>
            <a:off x="1370225" y="2759147"/>
            <a:ext cx="2087418" cy="1791854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E4AE3642-5634-0662-16C3-17AE7158410E}"/>
              </a:ext>
            </a:extLst>
          </p:cNvPr>
          <p:cNvSpPr/>
          <p:nvPr/>
        </p:nvSpPr>
        <p:spPr>
          <a:xfrm>
            <a:off x="5089238" y="2759147"/>
            <a:ext cx="2087418" cy="1791854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B18F3DC-8EC6-DAC3-D8A4-5EF57AF13C7E}"/>
              </a:ext>
            </a:extLst>
          </p:cNvPr>
          <p:cNvGrpSpPr/>
          <p:nvPr/>
        </p:nvGrpSpPr>
        <p:grpSpPr>
          <a:xfrm>
            <a:off x="1370225" y="2759147"/>
            <a:ext cx="9525443" cy="1791854"/>
            <a:chOff x="-889" y="2754745"/>
            <a:chExt cx="9525443" cy="1791854"/>
          </a:xfrm>
        </p:grpSpPr>
        <p:sp>
          <p:nvSpPr>
            <p:cNvPr id="8" name="Rectángulo: esquinas redondeadas 7">
              <a:extLst>
                <a:ext uri="{FF2B5EF4-FFF2-40B4-BE49-F238E27FC236}">
                  <a16:creationId xmlns:a16="http://schemas.microsoft.com/office/drawing/2014/main" id="{EB1DD3D9-66B2-FB98-01B4-1E95008DDEC9}"/>
                </a:ext>
              </a:extLst>
            </p:cNvPr>
            <p:cNvSpPr/>
            <p:nvPr/>
          </p:nvSpPr>
          <p:spPr>
            <a:xfrm>
              <a:off x="7437136" y="2754745"/>
              <a:ext cx="2087418" cy="179185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CL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A55A2A5C-1C88-FF39-298D-457B8372DB73}"/>
                </a:ext>
              </a:extLst>
            </p:cNvPr>
            <p:cNvSpPr txBox="1"/>
            <p:nvPr/>
          </p:nvSpPr>
          <p:spPr>
            <a:xfrm>
              <a:off x="-889" y="3183877"/>
              <a:ext cx="2087417" cy="933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rtl="0" fontAlgn="auto" hangingPunct="1">
                <a:spcBef>
                  <a:spcPts val="0"/>
                </a:spcBef>
                <a:buSzPct val="123000"/>
              </a:pPr>
              <a:r>
                <a:rPr lang="es-ES" sz="2000" dirty="0">
                  <a:solidFill>
                    <a:schemeClr val="bg1"/>
                  </a:solidFill>
                  <a:latin typeface="Arial"/>
                  <a:cs typeface="Arial"/>
                </a:rPr>
                <a:t>Automatización pruebas de explotación</a:t>
              </a:r>
              <a:endParaRPr lang="es-CL" sz="20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16" name="Flecha: cheurón 15">
            <a:extLst>
              <a:ext uri="{FF2B5EF4-FFF2-40B4-BE49-F238E27FC236}">
                <a16:creationId xmlns:a16="http://schemas.microsoft.com/office/drawing/2014/main" id="{72D9BAF4-0C9D-8D89-B184-ACB4B10D828F}"/>
              </a:ext>
            </a:extLst>
          </p:cNvPr>
          <p:cNvSpPr/>
          <p:nvPr/>
        </p:nvSpPr>
        <p:spPr>
          <a:xfrm>
            <a:off x="3974870" y="3144767"/>
            <a:ext cx="597133" cy="1139993"/>
          </a:xfrm>
          <a:prstGeom prst="chevron">
            <a:avLst>
              <a:gd name="adj" fmla="val 62310"/>
            </a:avLst>
          </a:prstGeom>
          <a:solidFill>
            <a:schemeClr val="bg2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/>
          </a:p>
        </p:txBody>
      </p:sp>
      <p:sp>
        <p:nvSpPr>
          <p:cNvPr id="17" name="Flecha: cheurón 16">
            <a:extLst>
              <a:ext uri="{FF2B5EF4-FFF2-40B4-BE49-F238E27FC236}">
                <a16:creationId xmlns:a16="http://schemas.microsoft.com/office/drawing/2014/main" id="{9854B04B-1100-7BB6-8582-0361C74CDA94}"/>
              </a:ext>
            </a:extLst>
          </p:cNvPr>
          <p:cNvSpPr/>
          <p:nvPr/>
        </p:nvSpPr>
        <p:spPr>
          <a:xfrm>
            <a:off x="7693885" y="3144767"/>
            <a:ext cx="597133" cy="1139993"/>
          </a:xfrm>
          <a:prstGeom prst="chevron">
            <a:avLst>
              <a:gd name="adj" fmla="val 62310"/>
            </a:avLst>
          </a:prstGeom>
          <a:solidFill>
            <a:schemeClr val="bg2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s-CL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D38A7D3-599A-80EE-62ED-F3DD56A83F41}"/>
              </a:ext>
            </a:extLst>
          </p:cNvPr>
          <p:cNvSpPr txBox="1"/>
          <p:nvPr/>
        </p:nvSpPr>
        <p:spPr>
          <a:xfrm>
            <a:off x="5089230" y="3326778"/>
            <a:ext cx="208741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rtl="0" fontAlgn="auto" hangingPunct="1">
              <a:spcBef>
                <a:spcPts val="0"/>
              </a:spcBef>
              <a:buSzPct val="123000"/>
            </a:pPr>
            <a:r>
              <a:rPr lang="es-ES" sz="2000" dirty="0">
                <a:solidFill>
                  <a:schemeClr val="bg1"/>
                </a:solidFill>
                <a:latin typeface="Arial"/>
                <a:cs typeface="Arial"/>
              </a:rPr>
              <a:t>Integración CI/CD</a:t>
            </a:r>
            <a:endParaRPr lang="es-CL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993F7ED-E1C7-3DB4-D848-5B57408B9329}"/>
              </a:ext>
            </a:extLst>
          </p:cNvPr>
          <p:cNvSpPr txBox="1"/>
          <p:nvPr/>
        </p:nvSpPr>
        <p:spPr>
          <a:xfrm>
            <a:off x="8847000" y="3326778"/>
            <a:ext cx="208741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rtl="0" fontAlgn="auto" hangingPunct="1">
              <a:spcBef>
                <a:spcPts val="0"/>
              </a:spcBef>
              <a:buSzPct val="123000"/>
            </a:pPr>
            <a:r>
              <a:rPr lang="es-ES" sz="2000" dirty="0">
                <a:solidFill>
                  <a:schemeClr val="bg1"/>
                </a:solidFill>
                <a:latin typeface="Arial"/>
                <a:cs typeface="Arial"/>
              </a:rPr>
              <a:t>Integración de </a:t>
            </a:r>
            <a:r>
              <a:rPr lang="es-ES" sz="2000" dirty="0" err="1">
                <a:solidFill>
                  <a:schemeClr val="bg1"/>
                </a:solidFill>
                <a:latin typeface="Arial"/>
                <a:cs typeface="Arial"/>
              </a:rPr>
              <a:t>Burp</a:t>
            </a:r>
            <a:r>
              <a:rPr lang="es-ES" sz="2000" dirty="0">
                <a:solidFill>
                  <a:schemeClr val="bg1"/>
                </a:solidFill>
                <a:latin typeface="Arial"/>
                <a:cs typeface="Arial"/>
              </a:rPr>
              <a:t> Suite</a:t>
            </a:r>
            <a:endParaRPr lang="es-CL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378615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Elipse 53">
            <a:extLst>
              <a:ext uri="{FF2B5EF4-FFF2-40B4-BE49-F238E27FC236}">
                <a16:creationId xmlns:a16="http://schemas.microsoft.com/office/drawing/2014/main" id="{B4886EDA-0331-835C-CB1E-A1F45B285F6E}"/>
              </a:ext>
            </a:extLst>
          </p:cNvPr>
          <p:cNvSpPr/>
          <p:nvPr/>
        </p:nvSpPr>
        <p:spPr>
          <a:xfrm>
            <a:off x="10206937" y="2165415"/>
            <a:ext cx="1047077" cy="1043709"/>
          </a:xfrm>
          <a:prstGeom prst="ellipse">
            <a:avLst/>
          </a:prstGeom>
          <a:solidFill>
            <a:schemeClr val="tx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id="{8A1A823A-335E-3E1D-725A-7114C68E1D74}"/>
              </a:ext>
            </a:extLst>
          </p:cNvPr>
          <p:cNvSpPr/>
          <p:nvPr/>
        </p:nvSpPr>
        <p:spPr>
          <a:xfrm>
            <a:off x="7637542" y="2165415"/>
            <a:ext cx="1047077" cy="1043709"/>
          </a:xfrm>
          <a:prstGeom prst="ellipse">
            <a:avLst/>
          </a:prstGeom>
          <a:solidFill>
            <a:schemeClr val="tx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0DF99AF0-3497-7A0F-B45D-51D2E9D84EAC}"/>
              </a:ext>
            </a:extLst>
          </p:cNvPr>
          <p:cNvSpPr/>
          <p:nvPr/>
        </p:nvSpPr>
        <p:spPr>
          <a:xfrm>
            <a:off x="5267662" y="2098475"/>
            <a:ext cx="1047077" cy="1043709"/>
          </a:xfrm>
          <a:prstGeom prst="ellipse">
            <a:avLst/>
          </a:prstGeom>
          <a:solidFill>
            <a:schemeClr val="tx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66C40E33-CC79-4A19-6129-EC0C1BBC36ED}"/>
              </a:ext>
            </a:extLst>
          </p:cNvPr>
          <p:cNvSpPr/>
          <p:nvPr/>
        </p:nvSpPr>
        <p:spPr>
          <a:xfrm>
            <a:off x="3210555" y="2148680"/>
            <a:ext cx="1047077" cy="1043709"/>
          </a:xfrm>
          <a:prstGeom prst="ellipse">
            <a:avLst/>
          </a:prstGeom>
          <a:solidFill>
            <a:schemeClr val="tx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C7BA41B8-1FE3-7D83-4F6C-10964604C814}"/>
              </a:ext>
            </a:extLst>
          </p:cNvPr>
          <p:cNvSpPr/>
          <p:nvPr/>
        </p:nvSpPr>
        <p:spPr>
          <a:xfrm>
            <a:off x="954279" y="2115210"/>
            <a:ext cx="1047077" cy="1043709"/>
          </a:xfrm>
          <a:prstGeom prst="ellipse">
            <a:avLst/>
          </a:prstGeom>
          <a:solidFill>
            <a:schemeClr val="tx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2445CE4-FA7C-01A1-D6B2-4E7C88B731D7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4</a:t>
            </a:fld>
            <a:endParaRPr lang="es-CL"/>
          </a:p>
        </p:txBody>
      </p:sp>
      <p:sp>
        <p:nvSpPr>
          <p:cNvPr id="3" name="Marcador de texto 4">
            <a:extLst>
              <a:ext uri="{FF2B5EF4-FFF2-40B4-BE49-F238E27FC236}">
                <a16:creationId xmlns:a16="http://schemas.microsoft.com/office/drawing/2014/main" id="{9357A637-E8F4-70A3-9C37-F21A50F96430}"/>
              </a:ext>
            </a:extLst>
          </p:cNvPr>
          <p:cNvSpPr txBox="1">
            <a:spLocks/>
          </p:cNvSpPr>
          <p:nvPr/>
        </p:nvSpPr>
        <p:spPr>
          <a:xfrm>
            <a:off x="485708" y="565661"/>
            <a:ext cx="4350907" cy="496975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3200" dirty="0">
                <a:solidFill>
                  <a:schemeClr val="bg2">
                    <a:lumMod val="75000"/>
                  </a:schemeClr>
                </a:solidFill>
              </a:rPr>
              <a:t>Dificultades</a:t>
            </a:r>
          </a:p>
        </p:txBody>
      </p:sp>
      <p:sp>
        <p:nvSpPr>
          <p:cNvPr id="4" name="Google Shape;244;p6">
            <a:extLst>
              <a:ext uri="{FF2B5EF4-FFF2-40B4-BE49-F238E27FC236}">
                <a16:creationId xmlns:a16="http://schemas.microsoft.com/office/drawing/2014/main" id="{B58D12E1-1624-A361-90C2-780B12573FCD}"/>
              </a:ext>
            </a:extLst>
          </p:cNvPr>
          <p:cNvSpPr txBox="1"/>
          <p:nvPr/>
        </p:nvSpPr>
        <p:spPr>
          <a:xfrm>
            <a:off x="9572719" y="3865194"/>
            <a:ext cx="2338317" cy="914401"/>
          </a:xfrm>
          <a:prstGeom prst="rect">
            <a:avLst/>
          </a:prstGeom>
        </p:spPr>
        <p:txBody>
          <a:bodyPr spcFirstLastPara="1" lIns="0" tIns="0" rIns="0" bIns="0" anchorCtr="0">
            <a:normAutofit lnSpcReduction="10000"/>
          </a:bodyPr>
          <a:lstStyle/>
          <a:p>
            <a:pPr algn="ctr"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2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reación de procesos automatizados   </a:t>
            </a: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endParaRPr lang="es-ES" sz="22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42900" indent="-342900" defTabSz="1218406" rtl="0" hangingPunct="1">
              <a:spcBef>
                <a:spcPts val="0"/>
              </a:spcBef>
              <a:spcAft>
                <a:spcPts val="600"/>
              </a:spcAft>
              <a:buSzPct val="123000"/>
              <a:buFont typeface="Arial" panose="020B0604020202020204" pitchFamily="34" charset="0"/>
              <a:buChar char="•"/>
            </a:pPr>
            <a:endParaRPr lang="es-CL" sz="22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6" name="Gráfico 5" descr="Internet contorno">
            <a:extLst>
              <a:ext uri="{FF2B5EF4-FFF2-40B4-BE49-F238E27FC236}">
                <a16:creationId xmlns:a16="http://schemas.microsoft.com/office/drawing/2014/main" id="{AF6D5CCF-2E04-2C99-30B7-A108D05AE4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3876" y="2165415"/>
            <a:ext cx="860862" cy="860862"/>
          </a:xfrm>
          <a:prstGeom prst="rect">
            <a:avLst/>
          </a:prstGeom>
        </p:spPr>
      </p:pic>
      <p:pic>
        <p:nvPicPr>
          <p:cNvPr id="8" name="Gráfico 7" descr="Reloj de arena terminado con relleno sólido">
            <a:extLst>
              <a:ext uri="{FF2B5EF4-FFF2-40B4-BE49-F238E27FC236}">
                <a16:creationId xmlns:a16="http://schemas.microsoft.com/office/drawing/2014/main" id="{5E05F235-F764-1045-206B-A2E1E4FBBB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07670" y="2303822"/>
            <a:ext cx="652847" cy="652847"/>
          </a:xfrm>
          <a:prstGeom prst="rect">
            <a:avLst/>
          </a:prstGeom>
        </p:spPr>
      </p:pic>
      <p:pic>
        <p:nvPicPr>
          <p:cNvPr id="10" name="Gráfico 9" descr="Lluvia de ideas contorno">
            <a:extLst>
              <a:ext uri="{FF2B5EF4-FFF2-40B4-BE49-F238E27FC236}">
                <a16:creationId xmlns:a16="http://schemas.microsoft.com/office/drawing/2014/main" id="{F0AF25D8-B2A7-9A36-84F7-0EAD27CDDD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72363" y="2265942"/>
            <a:ext cx="700595" cy="700595"/>
          </a:xfrm>
          <a:prstGeom prst="rect">
            <a:avLst/>
          </a:prstGeom>
        </p:spPr>
      </p:pic>
      <p:pic>
        <p:nvPicPr>
          <p:cNvPr id="14" name="Gráfico 13" descr="Internet de las cosas con relleno sólido">
            <a:extLst>
              <a:ext uri="{FF2B5EF4-FFF2-40B4-BE49-F238E27FC236}">
                <a16:creationId xmlns:a16="http://schemas.microsoft.com/office/drawing/2014/main" id="{7A4FA696-44F0-8694-C710-40CA930F83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10781" y="2279018"/>
            <a:ext cx="700595" cy="700595"/>
          </a:xfrm>
          <a:prstGeom prst="rect">
            <a:avLst/>
          </a:prstGeom>
        </p:spPr>
      </p:pic>
      <p:pic>
        <p:nvPicPr>
          <p:cNvPr id="16" name="Gráfico 15" descr="Robot contorno">
            <a:extLst>
              <a:ext uri="{FF2B5EF4-FFF2-40B4-BE49-F238E27FC236}">
                <a16:creationId xmlns:a16="http://schemas.microsoft.com/office/drawing/2014/main" id="{B5078A6F-C6B1-F8B3-23E3-71593080A4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67353" y="2286491"/>
            <a:ext cx="726241" cy="726241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F84E14E0-73D9-93F7-4187-2BC417B19195}"/>
              </a:ext>
            </a:extLst>
          </p:cNvPr>
          <p:cNvSpPr txBox="1"/>
          <p:nvPr/>
        </p:nvSpPr>
        <p:spPr>
          <a:xfrm>
            <a:off x="226972" y="3831724"/>
            <a:ext cx="2514671" cy="8340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prender nuevas </a:t>
            </a:r>
          </a:p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ecnologías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30FD1FEB-B4C1-6418-F368-34BCC3A5BB80}"/>
              </a:ext>
            </a:extLst>
          </p:cNvPr>
          <p:cNvCxnSpPr>
            <a:cxnSpLocks/>
            <a:stCxn id="45" idx="4"/>
          </p:cNvCxnSpPr>
          <p:nvPr/>
        </p:nvCxnSpPr>
        <p:spPr>
          <a:xfrm>
            <a:off x="1477818" y="3158919"/>
            <a:ext cx="0" cy="535690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BA92C26B-77B9-D3DD-B859-80E4DFB9199A}"/>
              </a:ext>
            </a:extLst>
          </p:cNvPr>
          <p:cNvSpPr txBox="1"/>
          <p:nvPr/>
        </p:nvSpPr>
        <p:spPr>
          <a:xfrm>
            <a:off x="2961013" y="3825320"/>
            <a:ext cx="1546160" cy="7571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iempos Ajustado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4A73440D-EFC7-3E0C-12FD-FD04E193B5E1}"/>
              </a:ext>
            </a:extLst>
          </p:cNvPr>
          <p:cNvSpPr txBox="1"/>
          <p:nvPr/>
        </p:nvSpPr>
        <p:spPr>
          <a:xfrm>
            <a:off x="4726543" y="3820391"/>
            <a:ext cx="2226902" cy="10895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solución de problemas imprevistos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C56049E-63AB-D675-D99A-CF3077C1474A}"/>
              </a:ext>
            </a:extLst>
          </p:cNvPr>
          <p:cNvSpPr txBox="1"/>
          <p:nvPr/>
        </p:nvSpPr>
        <p:spPr>
          <a:xfrm>
            <a:off x="6933422" y="3865325"/>
            <a:ext cx="2419927" cy="7571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s-E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gración de tecnologías</a:t>
            </a:r>
          </a:p>
        </p:txBody>
      </p: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3D66A476-E7D3-1660-EF96-F85A597810D8}"/>
              </a:ext>
            </a:extLst>
          </p:cNvPr>
          <p:cNvCxnSpPr>
            <a:cxnSpLocks/>
            <a:stCxn id="47" idx="4"/>
          </p:cNvCxnSpPr>
          <p:nvPr/>
        </p:nvCxnSpPr>
        <p:spPr>
          <a:xfrm>
            <a:off x="3734094" y="3192389"/>
            <a:ext cx="11252" cy="539678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CA2D450F-6710-7D44-CAC8-E6DC0AE469D5}"/>
              </a:ext>
            </a:extLst>
          </p:cNvPr>
          <p:cNvCxnSpPr>
            <a:cxnSpLocks/>
            <a:stCxn id="50" idx="4"/>
          </p:cNvCxnSpPr>
          <p:nvPr/>
        </p:nvCxnSpPr>
        <p:spPr>
          <a:xfrm>
            <a:off x="5791201" y="3142184"/>
            <a:ext cx="0" cy="55242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E597BCBE-B05A-68D4-DF04-793B1BB7AED9}"/>
              </a:ext>
            </a:extLst>
          </p:cNvPr>
          <p:cNvCxnSpPr>
            <a:cxnSpLocks/>
            <a:stCxn id="52" idx="4"/>
          </p:cNvCxnSpPr>
          <p:nvPr/>
        </p:nvCxnSpPr>
        <p:spPr>
          <a:xfrm>
            <a:off x="8161081" y="3209124"/>
            <a:ext cx="0" cy="51895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7FD296F7-634F-388E-8DF6-C4429B2B70F9}"/>
              </a:ext>
            </a:extLst>
          </p:cNvPr>
          <p:cNvCxnSpPr>
            <a:cxnSpLocks/>
            <a:stCxn id="54" idx="4"/>
          </p:cNvCxnSpPr>
          <p:nvPr/>
        </p:nvCxnSpPr>
        <p:spPr>
          <a:xfrm>
            <a:off x="10730476" y="3209124"/>
            <a:ext cx="1" cy="45333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12547498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1BB6252-DC15-E446-61FC-93B621E3D7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9549" y="237445"/>
            <a:ext cx="3876916" cy="1300367"/>
          </a:xfrm>
        </p:spPr>
        <p:txBody>
          <a:bodyPr/>
          <a:lstStyle/>
          <a:p>
            <a:r>
              <a:rPr lang="es-CL" sz="3200" dirty="0">
                <a:solidFill>
                  <a:schemeClr val="bg2">
                    <a:lumMod val="75000"/>
                  </a:schemeClr>
                </a:solidFill>
              </a:rPr>
              <a:t>Demostración de </a:t>
            </a:r>
            <a:r>
              <a:rPr lang="es-CL" sz="3200" dirty="0" err="1">
                <a:solidFill>
                  <a:schemeClr val="bg2">
                    <a:lumMod val="75000"/>
                  </a:schemeClr>
                </a:solidFill>
              </a:rPr>
              <a:t>RobotPentester</a:t>
            </a:r>
            <a:endParaRPr lang="es-CL" sz="32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76185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8A1B789F-98A7-1291-43F6-16C3EF53AA22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6</a:t>
            </a:fld>
            <a:endParaRPr lang="es-CL"/>
          </a:p>
        </p:txBody>
      </p:sp>
      <p:pic>
        <p:nvPicPr>
          <p:cNvPr id="3" name="Mi video">
            <a:hlinkClick r:id="" action="ppaction://media"/>
            <a:extLst>
              <a:ext uri="{FF2B5EF4-FFF2-40B4-BE49-F238E27FC236}">
                <a16:creationId xmlns:a16="http://schemas.microsoft.com/office/drawing/2014/main" id="{9153654E-620E-DB6E-E46B-F3E9052673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12424" t="12390" r="12804" b="12592"/>
          <a:stretch/>
        </p:blipFill>
        <p:spPr>
          <a:xfrm>
            <a:off x="0" y="-1"/>
            <a:ext cx="12192000" cy="688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502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8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233BD09-F263-F714-CF69-FDD7B7A0E28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7</a:t>
            </a:fld>
            <a:endParaRPr lang="es-CL"/>
          </a:p>
        </p:txBody>
      </p:sp>
      <p:sp>
        <p:nvSpPr>
          <p:cNvPr id="6" name="Marcador de texto 4">
            <a:extLst>
              <a:ext uri="{FF2B5EF4-FFF2-40B4-BE49-F238E27FC236}">
                <a16:creationId xmlns:a16="http://schemas.microsoft.com/office/drawing/2014/main" id="{5AEC6AC6-EB49-6FD4-3FD8-0A43307FC17B}"/>
              </a:ext>
            </a:extLst>
          </p:cNvPr>
          <p:cNvSpPr txBox="1">
            <a:spLocks/>
          </p:cNvSpPr>
          <p:nvPr/>
        </p:nvSpPr>
        <p:spPr>
          <a:xfrm>
            <a:off x="243222" y="345663"/>
            <a:ext cx="3876916" cy="650184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ES" sz="3200" dirty="0">
                <a:solidFill>
                  <a:schemeClr val="bg2">
                    <a:lumMod val="75000"/>
                  </a:schemeClr>
                </a:solidFill>
              </a:rPr>
              <a:t>Resultado Reportes</a:t>
            </a:r>
            <a:endParaRPr lang="es-CL" sz="32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0" name="Imagen 9" descr="Interfaz de usuario gráfica&#10;&#10;Descripción generada automáticamente con confianza baja">
            <a:extLst>
              <a:ext uri="{FF2B5EF4-FFF2-40B4-BE49-F238E27FC236}">
                <a16:creationId xmlns:a16="http://schemas.microsoft.com/office/drawing/2014/main" id="{EE10B775-F204-753B-FA64-4B5B592281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4756"/>
            <a:ext cx="12192000" cy="5863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94971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4708B89-47A0-4E10-EEFB-D70256355D8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8</a:t>
            </a:fld>
            <a:endParaRPr lang="es-C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33E9C2A-ED4B-A6EA-1512-02EDB6EF89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6764"/>
            <a:ext cx="12192000" cy="5851236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8327BA9-BA3E-E443-21C5-674750C96F99}"/>
              </a:ext>
            </a:extLst>
          </p:cNvPr>
          <p:cNvSpPr/>
          <p:nvPr/>
        </p:nvSpPr>
        <p:spPr>
          <a:xfrm>
            <a:off x="2466109" y="1422400"/>
            <a:ext cx="2983346" cy="101600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822BB43-1C90-8CEF-E19C-86461E00F324}"/>
              </a:ext>
            </a:extLst>
          </p:cNvPr>
          <p:cNvSpPr/>
          <p:nvPr/>
        </p:nvSpPr>
        <p:spPr>
          <a:xfrm>
            <a:off x="2484581" y="4003964"/>
            <a:ext cx="2983346" cy="101600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3195726-8D73-77E9-AF31-ABC8A17A4D29}"/>
              </a:ext>
            </a:extLst>
          </p:cNvPr>
          <p:cNvSpPr/>
          <p:nvPr/>
        </p:nvSpPr>
        <p:spPr>
          <a:xfrm>
            <a:off x="2484581" y="4765964"/>
            <a:ext cx="2983346" cy="101600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E5E7798C-0A4F-6B0F-DAEE-0CA0DA5B23EB}"/>
              </a:ext>
            </a:extLst>
          </p:cNvPr>
          <p:cNvSpPr/>
          <p:nvPr/>
        </p:nvSpPr>
        <p:spPr>
          <a:xfrm>
            <a:off x="2493817" y="5454072"/>
            <a:ext cx="2983346" cy="101600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53140221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A98849A-4501-AF1B-8750-00FAA62CBB8D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19</a:t>
            </a:fld>
            <a:endParaRPr lang="es-CL"/>
          </a:p>
        </p:txBody>
      </p:sp>
      <p:pic>
        <p:nvPicPr>
          <p:cNvPr id="9" name="Imagen 8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39537081-7405-E8A5-5F28-42332D311D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88" y="0"/>
            <a:ext cx="104500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14366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D85EF842-7775-386B-D5D8-ECC7671B1F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lIns="0" tIns="0" rIns="0" bIns="0">
            <a:normAutofit/>
          </a:bodyPr>
          <a:lstStyle/>
          <a:p>
            <a:r>
              <a:rPr lang="es-CL" dirty="0"/>
              <a:t>Sebastian Acevedo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3BFBF192-211C-B91D-D137-9744BB1BCF7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402709" y="2796470"/>
            <a:ext cx="1492442" cy="468000"/>
          </a:xfrm>
        </p:spPr>
        <p:txBody>
          <a:bodyPr lIns="0" tIns="0" rIns="0" bIns="0">
            <a:normAutofit/>
          </a:bodyPr>
          <a:lstStyle/>
          <a:p>
            <a:r>
              <a:rPr lang="es-CL" dirty="0"/>
              <a:t>Maximiliano Hilmer</a:t>
            </a:r>
          </a:p>
        </p:txBody>
      </p: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5F5F7419-CFCE-D3BE-411A-50F4A4375B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s-CL" sz="1600" dirty="0"/>
              <a:t>José Valdebenito</a:t>
            </a:r>
          </a:p>
          <a:p>
            <a:endParaRPr lang="es-CL" dirty="0"/>
          </a:p>
        </p:txBody>
      </p:sp>
      <p:sp>
        <p:nvSpPr>
          <p:cNvPr id="22" name="Marcador de texto 21">
            <a:extLst>
              <a:ext uri="{FF2B5EF4-FFF2-40B4-BE49-F238E27FC236}">
                <a16:creationId xmlns:a16="http://schemas.microsoft.com/office/drawing/2014/main" id="{05021D50-A3D8-0B07-76E1-39AFDD798F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s-CL" sz="1600" dirty="0"/>
              <a:t>Benjamín Ramírez</a:t>
            </a:r>
          </a:p>
          <a:p>
            <a:endParaRPr lang="es-CL" dirty="0"/>
          </a:p>
        </p:txBody>
      </p:sp>
      <p:pic>
        <p:nvPicPr>
          <p:cNvPr id="3" name="Marcador de posición de imagen 2" descr="Joven con camiseta negra&#10;&#10;Descripción generada automáticamente">
            <a:extLst>
              <a:ext uri="{FF2B5EF4-FFF2-40B4-BE49-F238E27FC236}">
                <a16:creationId xmlns:a16="http://schemas.microsoft.com/office/drawing/2014/main" id="{E9F76458-553D-2855-58AA-7742093D12D1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39" b="17939"/>
          <a:stretch>
            <a:fillRect/>
          </a:stretch>
        </p:blipFill>
        <p:spPr>
          <a:xfrm>
            <a:off x="6453282" y="2580581"/>
            <a:ext cx="831149" cy="712184"/>
          </a:xfrm>
        </p:spPr>
      </p:pic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9090A759-C47A-5DE5-5725-305539072B8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ES" sz="3200" i="0" u="none" strike="noStrike" cap="none" spc="0" baseline="0" dirty="0">
                <a:solidFill>
                  <a:schemeClr val="bg2">
                    <a:lumMod val="75000"/>
                  </a:schemeClr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tegrantes y roles</a:t>
            </a:r>
          </a:p>
          <a:p>
            <a:endParaRPr lang="es-CL" dirty="0"/>
          </a:p>
        </p:txBody>
      </p:sp>
      <p:pic>
        <p:nvPicPr>
          <p:cNvPr id="6" name="Marcador de posición de imagen 5" descr="Un joven sonriendo con una playera de color blanco&#10;&#10;Descripción generada automáticamente">
            <a:extLst>
              <a:ext uri="{FF2B5EF4-FFF2-40B4-BE49-F238E27FC236}">
                <a16:creationId xmlns:a16="http://schemas.microsoft.com/office/drawing/2014/main" id="{9A1B7D86-C074-5CAC-154F-0436A20795A1}"/>
              </a:ext>
            </a:extLst>
          </p:cNvPr>
          <p:cNvPicPr>
            <a:picLocks noGrp="1" noChangeAspect="1"/>
          </p:cNvPicPr>
          <p:nvPr>
            <p:ph type="pic" sz="quarter" idx="6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46" b="17946"/>
          <a:stretch>
            <a:fillRect/>
          </a:stretch>
        </p:blipFill>
        <p:spPr/>
      </p:pic>
      <p:pic>
        <p:nvPicPr>
          <p:cNvPr id="4" name="Marcador de posición de imagen 3" descr="Un hombre sentado en el asiento de un coche&#10;&#10;Descripción generada automáticamente">
            <a:extLst>
              <a:ext uri="{FF2B5EF4-FFF2-40B4-BE49-F238E27FC236}">
                <a16:creationId xmlns:a16="http://schemas.microsoft.com/office/drawing/2014/main" id="{F0A97647-E880-D200-697D-D02FCD9F6E8E}"/>
              </a:ext>
            </a:extLst>
          </p:cNvPr>
          <p:cNvPicPr>
            <a:picLocks noGrp="1" noChangeAspect="1"/>
          </p:cNvPicPr>
          <p:nvPr>
            <p:ph type="pic" sz="quarter" idx="6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5" b="7075"/>
          <a:stretch>
            <a:fillRect/>
          </a:stretch>
        </p:blipFill>
        <p:spPr>
          <a:xfrm>
            <a:off x="519113" y="2573338"/>
            <a:ext cx="830262" cy="712787"/>
          </a:xfrm>
        </p:spPr>
      </p:pic>
      <p:pic>
        <p:nvPicPr>
          <p:cNvPr id="8" name="Marcador de posición de imagen 7" descr="Hombre con barba y bigote&#10;&#10;Descripción generada automáticamente">
            <a:extLst>
              <a:ext uri="{FF2B5EF4-FFF2-40B4-BE49-F238E27FC236}">
                <a16:creationId xmlns:a16="http://schemas.microsoft.com/office/drawing/2014/main" id="{51CC69C7-C734-9576-1B42-C1074CDEF22D}"/>
              </a:ext>
            </a:extLst>
          </p:cNvPr>
          <p:cNvPicPr>
            <a:picLocks noGrp="1" noChangeAspect="1"/>
          </p:cNvPicPr>
          <p:nvPr>
            <p:ph type="pic" sz="quarter" idx="6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3" b="1613"/>
          <a:stretch>
            <a:fillRect/>
          </a:stretch>
        </p:blipFill>
        <p:spPr/>
      </p:pic>
      <p:sp>
        <p:nvSpPr>
          <p:cNvPr id="16" name="Google Shape;176;p2">
            <a:extLst>
              <a:ext uri="{FF2B5EF4-FFF2-40B4-BE49-F238E27FC236}">
                <a16:creationId xmlns:a16="http://schemas.microsoft.com/office/drawing/2014/main" id="{1FB1B462-DEEB-0EE1-9890-1BD769721900}"/>
              </a:ext>
            </a:extLst>
          </p:cNvPr>
          <p:cNvSpPr txBox="1">
            <a:spLocks/>
          </p:cNvSpPr>
          <p:nvPr/>
        </p:nvSpPr>
        <p:spPr>
          <a:xfrm>
            <a:off x="518647" y="3619062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 Software</a:t>
            </a:r>
          </a:p>
        </p:txBody>
      </p:sp>
      <p:sp>
        <p:nvSpPr>
          <p:cNvPr id="14" name="Google Shape;174;p2">
            <a:extLst>
              <a:ext uri="{FF2B5EF4-FFF2-40B4-BE49-F238E27FC236}">
                <a16:creationId xmlns:a16="http://schemas.microsoft.com/office/drawing/2014/main" id="{DF601205-358A-EEE1-9B22-43AD8BCAF1B7}"/>
              </a:ext>
            </a:extLst>
          </p:cNvPr>
          <p:cNvSpPr txBox="1">
            <a:spLocks/>
          </p:cNvSpPr>
          <p:nvPr/>
        </p:nvSpPr>
        <p:spPr>
          <a:xfrm>
            <a:off x="6367924" y="3619062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 Software</a:t>
            </a:r>
          </a:p>
          <a:p>
            <a:pPr marL="0" indent="0" rtl="0"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oogle Shape;171;p2">
            <a:extLst>
              <a:ext uri="{FF2B5EF4-FFF2-40B4-BE49-F238E27FC236}">
                <a16:creationId xmlns:a16="http://schemas.microsoft.com/office/drawing/2014/main" id="{B6C6438A-9647-7E36-A422-40812251590A}"/>
              </a:ext>
            </a:extLst>
          </p:cNvPr>
          <p:cNvSpPr txBox="1">
            <a:spLocks/>
          </p:cNvSpPr>
          <p:nvPr/>
        </p:nvSpPr>
        <p:spPr>
          <a:xfrm>
            <a:off x="9385976" y="3593531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 Software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Google Shape;176;p2">
            <a:extLst>
              <a:ext uri="{FF2B5EF4-FFF2-40B4-BE49-F238E27FC236}">
                <a16:creationId xmlns:a16="http://schemas.microsoft.com/office/drawing/2014/main" id="{71D2A8C1-6992-5CF0-4B32-7AD017CA3F4C}"/>
              </a:ext>
            </a:extLst>
          </p:cNvPr>
          <p:cNvSpPr txBox="1">
            <a:spLocks/>
          </p:cNvSpPr>
          <p:nvPr/>
        </p:nvSpPr>
        <p:spPr>
          <a:xfrm>
            <a:off x="3391642" y="3619062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 Software</a:t>
            </a:r>
          </a:p>
        </p:txBody>
      </p:sp>
    </p:spTree>
    <p:extLst>
      <p:ext uri="{BB962C8B-B14F-4D97-AF65-F5344CB8AC3E}">
        <p14:creationId xmlns:p14="http://schemas.microsoft.com/office/powerpoint/2010/main" val="3177781710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EE5B59C2-8817-82BA-B9AB-EC23898EB5A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20</a:t>
            </a:fld>
            <a:endParaRPr lang="es-CL"/>
          </a:p>
        </p:txBody>
      </p:sp>
      <p:pic>
        <p:nvPicPr>
          <p:cNvPr id="15" name="Imagen 14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C5F07286-D2B2-DBA0-73BE-A209ADF1A56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865" y="0"/>
            <a:ext cx="98422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008969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C0C38-34A0-40D0-B7CE-399C3DEEEB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38631E6-B6B8-79DB-BFC6-12CB09D74B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38657" y="1343590"/>
            <a:ext cx="5340927" cy="3293365"/>
          </a:xfrm>
        </p:spPr>
        <p:txBody>
          <a:bodyPr/>
          <a:lstStyle/>
          <a:p>
            <a:r>
              <a:rPr lang="es-ES" dirty="0"/>
              <a:t>Muchas Graci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97179734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21510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3A1E46B-242F-E9EE-E918-A9F2811B77C3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826C856-0F20-2CE6-247D-88B65FCB12EF}"/>
              </a:ext>
            </a:extLst>
          </p:cNvPr>
          <p:cNvSpPr txBox="1"/>
          <p:nvPr/>
        </p:nvSpPr>
        <p:spPr>
          <a:xfrm>
            <a:off x="1158948" y="919794"/>
            <a:ext cx="3168503" cy="5355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s-CL" altLang="es-CL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Contexto ACH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BFA60CA-079B-44E6-D3C0-486F0251EE21}"/>
              </a:ext>
            </a:extLst>
          </p:cNvPr>
          <p:cNvSpPr txBox="1"/>
          <p:nvPr/>
        </p:nvSpPr>
        <p:spPr>
          <a:xfrm>
            <a:off x="1169581" y="2400174"/>
            <a:ext cx="6315740" cy="21046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2400" dirty="0">
                <a:solidFill>
                  <a:schemeClr val="tx1"/>
                </a:solidFill>
                <a:latin typeface="Arial" panose="020B0604020202020204" pitchFamily="34" charset="0"/>
              </a:rPr>
              <a:t>Nuestro Grupo</a:t>
            </a:r>
          </a:p>
          <a:p>
            <a:r>
              <a:rPr 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Nuestro proyecto está basado y diseñado en conjunto con el equipo de Automatización y QA de la prestigiosa corporación ACHS, es un proyecto real, el cual está actualmente siendo aplicado en las fases claves de desarrollo y testeo de aplicativos webs</a:t>
            </a:r>
            <a:endParaRPr lang="es-CL" sz="2000" dirty="0"/>
          </a:p>
        </p:txBody>
      </p:sp>
      <p:cxnSp>
        <p:nvCxnSpPr>
          <p:cNvPr id="5" name="Straight Connector 68">
            <a:extLst>
              <a:ext uri="{FF2B5EF4-FFF2-40B4-BE49-F238E27FC236}">
                <a16:creationId xmlns:a16="http://schemas.microsoft.com/office/drawing/2014/main" id="{CAB8213C-B442-7438-7605-855BEA5D6328}"/>
              </a:ext>
            </a:extLst>
          </p:cNvPr>
          <p:cNvCxnSpPr>
            <a:cxnSpLocks/>
          </p:cNvCxnSpPr>
          <p:nvPr/>
        </p:nvCxnSpPr>
        <p:spPr>
          <a:xfrm>
            <a:off x="1253129" y="2841588"/>
            <a:ext cx="21351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0770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7AF580F-6C23-C4F1-2BA1-CC3F2C96E1EC}"/>
              </a:ext>
            </a:extLst>
          </p:cNvPr>
          <p:cNvSpPr txBox="1"/>
          <p:nvPr/>
        </p:nvSpPr>
        <p:spPr>
          <a:xfrm>
            <a:off x="1282995" y="2334231"/>
            <a:ext cx="6096000" cy="21046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2400" dirty="0">
                <a:solidFill>
                  <a:schemeClr val="tx1"/>
                </a:solidFill>
                <a:latin typeface="Arial" panose="020B0604020202020204" pitchFamily="34" charset="0"/>
              </a:rPr>
              <a:t>RobotPentester </a:t>
            </a:r>
          </a:p>
          <a:p>
            <a:r>
              <a:rPr lang="es-CL" alt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E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s una herramienta de automatización para </a:t>
            </a:r>
            <a:r>
              <a:rPr lang="es-CL" alt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detectar y mitigar riesgos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 en el desarrollo de software. Permite analizar flujos web, identificar fallos de seguridad y generar informes detallados a partir de scripts de </a:t>
            </a:r>
            <a:r>
              <a:rPr lang="es-CL" alt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JMeter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.</a:t>
            </a:r>
            <a:endParaRPr lang="es-CL" sz="20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69D661C-E5F2-1FFA-9C35-7F5C601616D4}"/>
              </a:ext>
            </a:extLst>
          </p:cNvPr>
          <p:cNvSpPr txBox="1"/>
          <p:nvPr/>
        </p:nvSpPr>
        <p:spPr>
          <a:xfrm>
            <a:off x="1282995" y="708736"/>
            <a:ext cx="4376534" cy="5355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s-CL" altLang="es-CL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Contexto del proyecto</a:t>
            </a:r>
          </a:p>
        </p:txBody>
      </p:sp>
      <p:cxnSp>
        <p:nvCxnSpPr>
          <p:cNvPr id="11" name="Straight Connector 68">
            <a:extLst>
              <a:ext uri="{FF2B5EF4-FFF2-40B4-BE49-F238E27FC236}">
                <a16:creationId xmlns:a16="http://schemas.microsoft.com/office/drawing/2014/main" id="{920CF38E-FD59-02EB-00CA-04A03F7B210B}"/>
              </a:ext>
            </a:extLst>
          </p:cNvPr>
          <p:cNvCxnSpPr>
            <a:cxnSpLocks/>
          </p:cNvCxnSpPr>
          <p:nvPr/>
        </p:nvCxnSpPr>
        <p:spPr>
          <a:xfrm>
            <a:off x="1401985" y="2841588"/>
            <a:ext cx="21351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36534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redondeado 12"/>
          <p:cNvSpPr/>
          <p:nvPr/>
        </p:nvSpPr>
        <p:spPr>
          <a:xfrm>
            <a:off x="4324603" y="5988050"/>
            <a:ext cx="2608460" cy="528980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ángulo redondeado 8"/>
          <p:cNvSpPr/>
          <p:nvPr/>
        </p:nvSpPr>
        <p:spPr>
          <a:xfrm>
            <a:off x="7456886" y="4605515"/>
            <a:ext cx="4206876" cy="1307644"/>
          </a:xfrm>
          <a:prstGeom prst="roundRect">
            <a:avLst/>
          </a:prstGeom>
          <a:solidFill>
            <a:schemeClr val="bg2">
              <a:alpha val="81000"/>
            </a:schemeClr>
          </a:solidFill>
          <a:ln>
            <a:noFill/>
            <a:prstDash val="sysDot"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6306" name="Slide Number Placeholder 1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3C3B7A91-3F9E-8A46-A027-FF9CB3618FA1}" type="slidenum">
              <a:rPr lang="id-ID">
                <a:solidFill>
                  <a:schemeClr val="bg1"/>
                </a:solidFill>
              </a:rPr>
              <a:pPr/>
              <a:t>5</a:t>
            </a:fld>
            <a:endParaRPr lang="id-ID">
              <a:solidFill>
                <a:schemeClr val="bg1"/>
              </a:solidFill>
            </a:endParaRPr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 rot="16200000">
            <a:off x="2631282" y="5426869"/>
            <a:ext cx="949325" cy="947738"/>
          </a:xfrm>
          <a:custGeom>
            <a:avLst/>
            <a:gdLst>
              <a:gd name="T0" fmla="*/ 520 w 882"/>
              <a:gd name="T1" fmla="*/ 0 h 811"/>
              <a:gd name="T2" fmla="*/ 0 w 882"/>
              <a:gd name="T3" fmla="*/ 0 h 811"/>
              <a:gd name="T4" fmla="*/ 359 w 882"/>
              <a:gd name="T5" fmla="*/ 811 h 811"/>
              <a:gd name="T6" fmla="*/ 882 w 882"/>
              <a:gd name="T7" fmla="*/ 811 h 811"/>
              <a:gd name="T8" fmla="*/ 520 w 882"/>
              <a:gd name="T9" fmla="*/ 0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82" h="811">
                <a:moveTo>
                  <a:pt x="520" y="0"/>
                </a:moveTo>
                <a:lnTo>
                  <a:pt x="0" y="0"/>
                </a:lnTo>
                <a:lnTo>
                  <a:pt x="359" y="811"/>
                </a:lnTo>
                <a:lnTo>
                  <a:pt x="882" y="811"/>
                </a:lnTo>
                <a:lnTo>
                  <a:pt x="52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 rot="16200000">
            <a:off x="2202657" y="2180432"/>
            <a:ext cx="965200" cy="982663"/>
          </a:xfrm>
          <a:custGeom>
            <a:avLst/>
            <a:gdLst>
              <a:gd name="T0" fmla="*/ 373 w 896"/>
              <a:gd name="T1" fmla="*/ 841 h 841"/>
              <a:gd name="T2" fmla="*/ 0 w 896"/>
              <a:gd name="T3" fmla="*/ 0 h 841"/>
              <a:gd name="T4" fmla="*/ 522 w 896"/>
              <a:gd name="T5" fmla="*/ 0 h 841"/>
              <a:gd name="T6" fmla="*/ 896 w 896"/>
              <a:gd name="T7" fmla="*/ 841 h 841"/>
              <a:gd name="T8" fmla="*/ 373 w 896"/>
              <a:gd name="T9" fmla="*/ 841 h 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6" h="841">
                <a:moveTo>
                  <a:pt x="373" y="841"/>
                </a:moveTo>
                <a:lnTo>
                  <a:pt x="0" y="0"/>
                </a:lnTo>
                <a:lnTo>
                  <a:pt x="522" y="0"/>
                </a:lnTo>
                <a:lnTo>
                  <a:pt x="896" y="841"/>
                </a:lnTo>
                <a:lnTo>
                  <a:pt x="373" y="84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19" name="Freeform 17"/>
          <p:cNvSpPr>
            <a:spLocks/>
          </p:cNvSpPr>
          <p:nvPr/>
        </p:nvSpPr>
        <p:spPr bwMode="auto">
          <a:xfrm rot="16200000">
            <a:off x="2321719" y="3034506"/>
            <a:ext cx="1130300" cy="1385888"/>
          </a:xfrm>
          <a:custGeom>
            <a:avLst/>
            <a:gdLst>
              <a:gd name="T0" fmla="*/ 530 w 1051"/>
              <a:gd name="T1" fmla="*/ 1186 h 1186"/>
              <a:gd name="T2" fmla="*/ 0 w 1051"/>
              <a:gd name="T3" fmla="*/ 0 h 1186"/>
              <a:gd name="T4" fmla="*/ 523 w 1051"/>
              <a:gd name="T5" fmla="*/ 0 h 1186"/>
              <a:gd name="T6" fmla="*/ 1051 w 1051"/>
              <a:gd name="T7" fmla="*/ 1186 h 1186"/>
              <a:gd name="T8" fmla="*/ 530 w 1051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1" h="1186">
                <a:moveTo>
                  <a:pt x="530" y="1186"/>
                </a:moveTo>
                <a:lnTo>
                  <a:pt x="0" y="0"/>
                </a:lnTo>
                <a:lnTo>
                  <a:pt x="523" y="0"/>
                </a:lnTo>
                <a:lnTo>
                  <a:pt x="1051" y="1186"/>
                </a:lnTo>
                <a:lnTo>
                  <a:pt x="530" y="118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 rot="16200000">
            <a:off x="2321719" y="4167981"/>
            <a:ext cx="1130300" cy="1385888"/>
          </a:xfrm>
          <a:custGeom>
            <a:avLst/>
            <a:gdLst>
              <a:gd name="T0" fmla="*/ 527 w 1050"/>
              <a:gd name="T1" fmla="*/ 1186 h 1186"/>
              <a:gd name="T2" fmla="*/ 0 w 1050"/>
              <a:gd name="T3" fmla="*/ 0 h 1186"/>
              <a:gd name="T4" fmla="*/ 520 w 1050"/>
              <a:gd name="T5" fmla="*/ 0 h 1186"/>
              <a:gd name="T6" fmla="*/ 1050 w 1050"/>
              <a:gd name="T7" fmla="*/ 1186 h 1186"/>
              <a:gd name="T8" fmla="*/ 527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527" y="1186"/>
                </a:moveTo>
                <a:lnTo>
                  <a:pt x="0" y="0"/>
                </a:lnTo>
                <a:lnTo>
                  <a:pt x="520" y="0"/>
                </a:lnTo>
                <a:lnTo>
                  <a:pt x="1050" y="1186"/>
                </a:lnTo>
                <a:lnTo>
                  <a:pt x="527" y="118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 rot="16200000">
            <a:off x="230982" y="3472657"/>
            <a:ext cx="5316537" cy="1454150"/>
          </a:xfrm>
          <a:custGeom>
            <a:avLst/>
            <a:gdLst>
              <a:gd name="T0" fmla="*/ 5248 w 5248"/>
              <a:gd name="T1" fmla="*/ 623 h 1244"/>
              <a:gd name="T2" fmla="*/ 4451 w 5248"/>
              <a:gd name="T3" fmla="*/ 0 h 1244"/>
              <a:gd name="T4" fmla="*/ 4451 w 5248"/>
              <a:gd name="T5" fmla="*/ 271 h 1244"/>
              <a:gd name="T6" fmla="*/ 0 w 5248"/>
              <a:gd name="T7" fmla="*/ 271 h 1244"/>
              <a:gd name="T8" fmla="*/ 0 w 5248"/>
              <a:gd name="T9" fmla="*/ 965 h 1244"/>
              <a:gd name="T10" fmla="*/ 4451 w 5248"/>
              <a:gd name="T11" fmla="*/ 965 h 1244"/>
              <a:gd name="T12" fmla="*/ 4451 w 5248"/>
              <a:gd name="T13" fmla="*/ 1244 h 1244"/>
              <a:gd name="T14" fmla="*/ 5248 w 5248"/>
              <a:gd name="T15" fmla="*/ 623 h 1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48" h="1244">
                <a:moveTo>
                  <a:pt x="5248" y="623"/>
                </a:moveTo>
                <a:lnTo>
                  <a:pt x="4451" y="0"/>
                </a:lnTo>
                <a:lnTo>
                  <a:pt x="4451" y="271"/>
                </a:lnTo>
                <a:lnTo>
                  <a:pt x="0" y="271"/>
                </a:lnTo>
                <a:lnTo>
                  <a:pt x="0" y="965"/>
                </a:lnTo>
                <a:lnTo>
                  <a:pt x="4451" y="965"/>
                </a:lnTo>
                <a:lnTo>
                  <a:pt x="4451" y="1244"/>
                </a:lnTo>
                <a:lnTo>
                  <a:pt x="5248" y="62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 rot="16200000">
            <a:off x="2321719" y="4729956"/>
            <a:ext cx="1130300" cy="1385888"/>
          </a:xfrm>
          <a:custGeom>
            <a:avLst/>
            <a:gdLst>
              <a:gd name="T0" fmla="*/ 0 w 1050"/>
              <a:gd name="T1" fmla="*/ 1186 h 1186"/>
              <a:gd name="T2" fmla="*/ 528 w 1050"/>
              <a:gd name="T3" fmla="*/ 0 h 1186"/>
              <a:gd name="T4" fmla="*/ 1050 w 1050"/>
              <a:gd name="T5" fmla="*/ 0 h 1186"/>
              <a:gd name="T6" fmla="*/ 523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28" y="0"/>
                </a:lnTo>
                <a:lnTo>
                  <a:pt x="1050" y="0"/>
                </a:lnTo>
                <a:lnTo>
                  <a:pt x="523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 dirty="0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 rot="16200000">
            <a:off x="2321719" y="3604419"/>
            <a:ext cx="1130300" cy="1385888"/>
          </a:xfrm>
          <a:custGeom>
            <a:avLst/>
            <a:gdLst>
              <a:gd name="T0" fmla="*/ 0 w 1050"/>
              <a:gd name="T1" fmla="*/ 1186 h 1186"/>
              <a:gd name="T2" fmla="*/ 529 w 1050"/>
              <a:gd name="T3" fmla="*/ 0 h 1186"/>
              <a:gd name="T4" fmla="*/ 1050 w 1050"/>
              <a:gd name="T5" fmla="*/ 0 h 1186"/>
              <a:gd name="T6" fmla="*/ 522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29" y="0"/>
                </a:lnTo>
                <a:lnTo>
                  <a:pt x="1050" y="0"/>
                </a:lnTo>
                <a:lnTo>
                  <a:pt x="522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 dirty="0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 rot="16200000">
            <a:off x="2322513" y="2466975"/>
            <a:ext cx="1128712" cy="1385888"/>
          </a:xfrm>
          <a:custGeom>
            <a:avLst/>
            <a:gdLst>
              <a:gd name="T0" fmla="*/ 0 w 1050"/>
              <a:gd name="T1" fmla="*/ 1186 h 1186"/>
              <a:gd name="T2" fmla="*/ 530 w 1050"/>
              <a:gd name="T3" fmla="*/ 0 h 1186"/>
              <a:gd name="T4" fmla="*/ 1050 w 1050"/>
              <a:gd name="T5" fmla="*/ 0 h 1186"/>
              <a:gd name="T6" fmla="*/ 523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30" y="0"/>
                </a:lnTo>
                <a:lnTo>
                  <a:pt x="1050" y="0"/>
                </a:lnTo>
                <a:lnTo>
                  <a:pt x="523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auto">
          <a:xfrm rot="1317784">
            <a:off x="2775455" y="5245734"/>
            <a:ext cx="184731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id-ID" sz="1800" b="1" dirty="0">
              <a:latin typeface="Raleway" charset="0"/>
            </a:endParaRPr>
          </a:p>
        </p:txBody>
      </p:sp>
      <p:sp>
        <p:nvSpPr>
          <p:cNvPr id="55" name="TextBox 54"/>
          <p:cNvSpPr txBox="1">
            <a:spLocks noChangeArrowheads="1"/>
          </p:cNvSpPr>
          <p:nvPr/>
        </p:nvSpPr>
        <p:spPr bwMode="auto">
          <a:xfrm rot="1317784">
            <a:off x="2228863" y="4072297"/>
            <a:ext cx="1277914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Tiempo</a:t>
            </a:r>
            <a:endParaRPr lang="id-ID" b="1" dirty="0">
              <a:latin typeface="Raleway" charset="0"/>
            </a:endParaRPr>
          </a:p>
        </p:txBody>
      </p:sp>
      <p:sp>
        <p:nvSpPr>
          <p:cNvPr id="56" name="TextBox 55"/>
          <p:cNvSpPr txBox="1">
            <a:spLocks noChangeArrowheads="1"/>
          </p:cNvSpPr>
          <p:nvPr/>
        </p:nvSpPr>
        <p:spPr bwMode="auto">
          <a:xfrm rot="1317784">
            <a:off x="2252916" y="2929297"/>
            <a:ext cx="1228221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Costos</a:t>
            </a:r>
            <a:endParaRPr lang="id-ID" b="1" dirty="0">
              <a:latin typeface="Raleway" charset="0"/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4513264" y="3117850"/>
            <a:ext cx="771365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400" b="1" dirty="0">
                <a:latin typeface="Raleway" charset="0"/>
              </a:rPr>
              <a:t>Costos</a:t>
            </a:r>
            <a:endParaRPr lang="id-ID" sz="1400" b="1" dirty="0">
              <a:latin typeface="Raleway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513262" y="3378200"/>
            <a:ext cx="240953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200" dirty="0">
                <a:solidFill>
                  <a:schemeClr val="accent3">
                    <a:lumMod val="85000"/>
                    <a:lumOff val="15000"/>
                  </a:schemeClr>
                </a:solidFill>
              </a:rPr>
              <a:t>Cada análisis tiene un costo entre 30 y 50 UF por proyecto</a:t>
            </a:r>
            <a:endParaRPr lang="id-ID" sz="1200" dirty="0">
              <a:solidFill>
                <a:schemeClr val="accent3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4513263" y="3370263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>
            <a:spLocks noChangeArrowheads="1"/>
          </p:cNvSpPr>
          <p:nvPr/>
        </p:nvSpPr>
        <p:spPr bwMode="auto">
          <a:xfrm>
            <a:off x="4513264" y="3895725"/>
            <a:ext cx="926857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400" b="1" dirty="0">
                <a:latin typeface="Raleway" charset="0"/>
              </a:rPr>
              <a:t>Tiempos</a:t>
            </a:r>
            <a:endParaRPr lang="id-ID" sz="1400" b="1" dirty="0">
              <a:latin typeface="Raleway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13262" y="4156075"/>
            <a:ext cx="231744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200" dirty="0">
                <a:solidFill>
                  <a:schemeClr val="accent3">
                    <a:lumMod val="85000"/>
                    <a:lumOff val="15000"/>
                  </a:schemeClr>
                </a:solidFill>
              </a:rPr>
              <a:t>Iterar análisis al final del desarrollo causa retrasos que pueden costar días o semanas.</a:t>
            </a:r>
            <a:endParaRPr lang="id-ID" sz="1200" dirty="0">
              <a:solidFill>
                <a:schemeClr val="accent3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4513263" y="4154488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>
            <a:spLocks noChangeArrowheads="1"/>
          </p:cNvSpPr>
          <p:nvPr/>
        </p:nvSpPr>
        <p:spPr bwMode="auto">
          <a:xfrm>
            <a:off x="4579743" y="4745098"/>
            <a:ext cx="736099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400" b="1" dirty="0">
                <a:latin typeface="Raleway" charset="0"/>
              </a:rPr>
              <a:t>Apoyo</a:t>
            </a:r>
            <a:endParaRPr lang="id-ID" sz="1400" b="1" dirty="0">
              <a:latin typeface="Raleway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486869" y="5017560"/>
            <a:ext cx="2006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200" dirty="0">
                <a:solidFill>
                  <a:schemeClr val="accent3">
                    <a:lumMod val="85000"/>
                    <a:lumOff val="15000"/>
                  </a:schemeClr>
                </a:solidFill>
              </a:rPr>
              <a:t>Involucrarse en ciberseguridad solo al final del desarrollo complica la colaboración por falta de entendimiento.</a:t>
            </a:r>
            <a:endParaRPr lang="id-ID" sz="1200" dirty="0">
              <a:solidFill>
                <a:schemeClr val="accent3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4611743" y="5017560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ontent Placeholder 19"/>
          <p:cNvSpPr txBox="1">
            <a:spLocks/>
          </p:cNvSpPr>
          <p:nvPr/>
        </p:nvSpPr>
        <p:spPr>
          <a:xfrm>
            <a:off x="4114799" y="2462023"/>
            <a:ext cx="5977719" cy="625475"/>
          </a:xfrm>
          <a:prstGeom prst="rect">
            <a:avLst/>
          </a:prstGeom>
        </p:spPr>
        <p:txBody>
          <a:bodyPr lIns="68580" tIns="34290" rIns="68580" bIns="3429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s-MX" sz="1300" dirty="0">
                <a:solidFill>
                  <a:schemeClr val="accent3"/>
                </a:solidFill>
              </a:rPr>
              <a:t>Hasta la fecha, se han destinado </a:t>
            </a:r>
            <a:r>
              <a:rPr lang="es-MX" sz="1300" b="1" dirty="0">
                <a:solidFill>
                  <a:schemeClr val="accent3"/>
                </a:solidFill>
              </a:rPr>
              <a:t>más de 2800 UF(*) </a:t>
            </a:r>
            <a:r>
              <a:rPr lang="es-MX" sz="1300" dirty="0">
                <a:solidFill>
                  <a:schemeClr val="accent3"/>
                </a:solidFill>
              </a:rPr>
              <a:t>en análisis de ciberseguridad para desarrollos web y plataformas de soporte. A continuación, tres factores que incrementan la inversión en nuestros desarrollos internos.</a:t>
            </a:r>
            <a:endParaRPr lang="en-US" sz="1300" dirty="0">
              <a:solidFill>
                <a:schemeClr val="accent3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063353" y="2151156"/>
            <a:ext cx="3786836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5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Impacto en costo por integración tardía</a:t>
            </a:r>
            <a:endParaRPr lang="en-US" sz="15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4173538" y="2430463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4082036" y="4798013"/>
            <a:ext cx="329249" cy="196864"/>
            <a:chOff x="7037388" y="3643313"/>
            <a:chExt cx="762000" cy="455613"/>
          </a:xfrm>
          <a:solidFill>
            <a:schemeClr val="accent1"/>
          </a:solidFill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037388" y="3643313"/>
              <a:ext cx="601663" cy="455613"/>
            </a:xfrm>
            <a:custGeom>
              <a:avLst/>
              <a:gdLst>
                <a:gd name="T0" fmla="*/ 110 w 158"/>
                <a:gd name="T1" fmla="*/ 55 h 118"/>
                <a:gd name="T2" fmla="*/ 109 w 158"/>
                <a:gd name="T3" fmla="*/ 50 h 118"/>
                <a:gd name="T4" fmla="*/ 119 w 158"/>
                <a:gd name="T5" fmla="*/ 33 h 118"/>
                <a:gd name="T6" fmla="*/ 119 w 158"/>
                <a:gd name="T7" fmla="*/ 24 h 118"/>
                <a:gd name="T8" fmla="*/ 119 w 158"/>
                <a:gd name="T9" fmla="*/ 16 h 118"/>
                <a:gd name="T10" fmla="*/ 118 w 158"/>
                <a:gd name="T11" fmla="*/ 15 h 118"/>
                <a:gd name="T12" fmla="*/ 117 w 158"/>
                <a:gd name="T13" fmla="*/ 8 h 118"/>
                <a:gd name="T14" fmla="*/ 99 w 158"/>
                <a:gd name="T15" fmla="*/ 0 h 118"/>
                <a:gd name="T16" fmla="*/ 81 w 158"/>
                <a:gd name="T17" fmla="*/ 5 h 118"/>
                <a:gd name="T18" fmla="*/ 78 w 158"/>
                <a:gd name="T19" fmla="*/ 13 h 118"/>
                <a:gd name="T20" fmla="*/ 77 w 158"/>
                <a:gd name="T21" fmla="*/ 15 h 118"/>
                <a:gd name="T22" fmla="*/ 77 w 158"/>
                <a:gd name="T23" fmla="*/ 23 h 118"/>
                <a:gd name="T24" fmla="*/ 77 w 158"/>
                <a:gd name="T25" fmla="*/ 32 h 118"/>
                <a:gd name="T26" fmla="*/ 87 w 158"/>
                <a:gd name="T27" fmla="*/ 49 h 118"/>
                <a:gd name="T28" fmla="*/ 86 w 158"/>
                <a:gd name="T29" fmla="*/ 55 h 118"/>
                <a:gd name="T30" fmla="*/ 69 w 158"/>
                <a:gd name="T31" fmla="*/ 63 h 118"/>
                <a:gd name="T32" fmla="*/ 52 w 158"/>
                <a:gd name="T33" fmla="*/ 56 h 118"/>
                <a:gd name="T34" fmla="*/ 51 w 158"/>
                <a:gd name="T35" fmla="*/ 52 h 118"/>
                <a:gd name="T36" fmla="*/ 58 w 158"/>
                <a:gd name="T37" fmla="*/ 38 h 118"/>
                <a:gd name="T38" fmla="*/ 59 w 158"/>
                <a:gd name="T39" fmla="*/ 32 h 118"/>
                <a:gd name="T40" fmla="*/ 58 w 158"/>
                <a:gd name="T41" fmla="*/ 18 h 118"/>
                <a:gd name="T42" fmla="*/ 44 w 158"/>
                <a:gd name="T43" fmla="*/ 12 h 118"/>
                <a:gd name="T44" fmla="*/ 29 w 158"/>
                <a:gd name="T45" fmla="*/ 16 h 118"/>
                <a:gd name="T46" fmla="*/ 26 w 158"/>
                <a:gd name="T47" fmla="*/ 31 h 118"/>
                <a:gd name="T48" fmla="*/ 27 w 158"/>
                <a:gd name="T49" fmla="*/ 38 h 118"/>
                <a:gd name="T50" fmla="*/ 34 w 158"/>
                <a:gd name="T51" fmla="*/ 51 h 118"/>
                <a:gd name="T52" fmla="*/ 33 w 158"/>
                <a:gd name="T53" fmla="*/ 56 h 118"/>
                <a:gd name="T54" fmla="*/ 8 w 158"/>
                <a:gd name="T55" fmla="*/ 70 h 118"/>
                <a:gd name="T56" fmla="*/ 3 w 158"/>
                <a:gd name="T57" fmla="*/ 89 h 118"/>
                <a:gd name="T58" fmla="*/ 41 w 158"/>
                <a:gd name="T59" fmla="*/ 99 h 118"/>
                <a:gd name="T60" fmla="*/ 48 w 158"/>
                <a:gd name="T61" fmla="*/ 76 h 118"/>
                <a:gd name="T62" fmla="*/ 57 w 158"/>
                <a:gd name="T63" fmla="*/ 70 h 118"/>
                <a:gd name="T64" fmla="*/ 53 w 158"/>
                <a:gd name="T65" fmla="*/ 73 h 118"/>
                <a:gd name="T66" fmla="*/ 47 w 158"/>
                <a:gd name="T67" fmla="*/ 99 h 118"/>
                <a:gd name="T68" fmla="*/ 155 w 158"/>
                <a:gd name="T69" fmla="*/ 99 h 118"/>
                <a:gd name="T70" fmla="*/ 150 w 158"/>
                <a:gd name="T71" fmla="*/ 78 h 118"/>
                <a:gd name="T72" fmla="*/ 110 w 158"/>
                <a:gd name="T73" fmla="*/ 5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118">
                  <a:moveTo>
                    <a:pt x="110" y="55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13" y="47"/>
                    <a:pt x="117" y="42"/>
                    <a:pt x="119" y="33"/>
                  </a:cubicBezTo>
                  <a:cubicBezTo>
                    <a:pt x="122" y="27"/>
                    <a:pt x="119" y="24"/>
                    <a:pt x="119" y="24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9" y="16"/>
                    <a:pt x="118" y="15"/>
                    <a:pt x="118" y="15"/>
                  </a:cubicBezTo>
                  <a:cubicBezTo>
                    <a:pt x="118" y="13"/>
                    <a:pt x="118" y="10"/>
                    <a:pt x="117" y="8"/>
                  </a:cubicBezTo>
                  <a:cubicBezTo>
                    <a:pt x="114" y="5"/>
                    <a:pt x="110" y="1"/>
                    <a:pt x="99" y="0"/>
                  </a:cubicBezTo>
                  <a:cubicBezTo>
                    <a:pt x="92" y="0"/>
                    <a:pt x="84" y="3"/>
                    <a:pt x="81" y="5"/>
                  </a:cubicBezTo>
                  <a:cubicBezTo>
                    <a:pt x="80" y="7"/>
                    <a:pt x="79" y="10"/>
                    <a:pt x="78" y="13"/>
                  </a:cubicBezTo>
                  <a:cubicBezTo>
                    <a:pt x="78" y="13"/>
                    <a:pt x="78" y="14"/>
                    <a:pt x="77" y="15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4" y="27"/>
                    <a:pt x="77" y="32"/>
                  </a:cubicBezTo>
                  <a:cubicBezTo>
                    <a:pt x="79" y="41"/>
                    <a:pt x="83" y="46"/>
                    <a:pt x="87" y="49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4" y="56"/>
                    <a:pt x="76" y="60"/>
                    <a:pt x="69" y="63"/>
                  </a:cubicBezTo>
                  <a:cubicBezTo>
                    <a:pt x="61" y="59"/>
                    <a:pt x="52" y="56"/>
                    <a:pt x="52" y="56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4" y="50"/>
                    <a:pt x="57" y="46"/>
                    <a:pt x="58" y="38"/>
                  </a:cubicBezTo>
                  <a:cubicBezTo>
                    <a:pt x="59" y="37"/>
                    <a:pt x="59" y="34"/>
                    <a:pt x="59" y="32"/>
                  </a:cubicBezTo>
                  <a:cubicBezTo>
                    <a:pt x="59" y="30"/>
                    <a:pt x="60" y="23"/>
                    <a:pt x="58" y="18"/>
                  </a:cubicBezTo>
                  <a:cubicBezTo>
                    <a:pt x="56" y="16"/>
                    <a:pt x="52" y="13"/>
                    <a:pt x="44" y="12"/>
                  </a:cubicBezTo>
                  <a:cubicBezTo>
                    <a:pt x="38" y="12"/>
                    <a:pt x="32" y="14"/>
                    <a:pt x="29" y="16"/>
                  </a:cubicBezTo>
                  <a:cubicBezTo>
                    <a:pt x="26" y="20"/>
                    <a:pt x="26" y="27"/>
                    <a:pt x="26" y="31"/>
                  </a:cubicBezTo>
                  <a:cubicBezTo>
                    <a:pt x="25" y="33"/>
                    <a:pt x="25" y="36"/>
                    <a:pt x="27" y="38"/>
                  </a:cubicBezTo>
                  <a:cubicBezTo>
                    <a:pt x="28" y="45"/>
                    <a:pt x="31" y="49"/>
                    <a:pt x="34" y="51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13" y="65"/>
                    <a:pt x="8" y="70"/>
                  </a:cubicBezTo>
                  <a:cubicBezTo>
                    <a:pt x="4" y="73"/>
                    <a:pt x="0" y="85"/>
                    <a:pt x="3" y="89"/>
                  </a:cubicBezTo>
                  <a:cubicBezTo>
                    <a:pt x="14" y="94"/>
                    <a:pt x="27" y="98"/>
                    <a:pt x="41" y="99"/>
                  </a:cubicBezTo>
                  <a:cubicBezTo>
                    <a:pt x="40" y="91"/>
                    <a:pt x="44" y="80"/>
                    <a:pt x="48" y="76"/>
                  </a:cubicBezTo>
                  <a:cubicBezTo>
                    <a:pt x="50" y="75"/>
                    <a:pt x="53" y="73"/>
                    <a:pt x="57" y="70"/>
                  </a:cubicBezTo>
                  <a:cubicBezTo>
                    <a:pt x="55" y="72"/>
                    <a:pt x="54" y="73"/>
                    <a:pt x="53" y="73"/>
                  </a:cubicBezTo>
                  <a:cubicBezTo>
                    <a:pt x="47" y="78"/>
                    <a:pt x="43" y="93"/>
                    <a:pt x="47" y="99"/>
                  </a:cubicBezTo>
                  <a:cubicBezTo>
                    <a:pt x="75" y="113"/>
                    <a:pt x="119" y="118"/>
                    <a:pt x="155" y="99"/>
                  </a:cubicBezTo>
                  <a:cubicBezTo>
                    <a:pt x="158" y="94"/>
                    <a:pt x="153" y="82"/>
                    <a:pt x="150" y="78"/>
                  </a:cubicBezTo>
                  <a:cubicBezTo>
                    <a:pt x="144" y="69"/>
                    <a:pt x="121" y="57"/>
                    <a:pt x="110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532688" y="3686176"/>
              <a:ext cx="266700" cy="331788"/>
            </a:xfrm>
            <a:custGeom>
              <a:avLst/>
              <a:gdLst>
                <a:gd name="T0" fmla="*/ 62 w 70"/>
                <a:gd name="T1" fmla="*/ 57 h 86"/>
                <a:gd name="T2" fmla="*/ 37 w 70"/>
                <a:gd name="T3" fmla="*/ 44 h 86"/>
                <a:gd name="T4" fmla="*/ 36 w 70"/>
                <a:gd name="T5" fmla="*/ 39 h 86"/>
                <a:gd name="T6" fmla="*/ 43 w 70"/>
                <a:gd name="T7" fmla="*/ 26 h 86"/>
                <a:gd name="T8" fmla="*/ 44 w 70"/>
                <a:gd name="T9" fmla="*/ 19 h 86"/>
                <a:gd name="T10" fmla="*/ 41 w 70"/>
                <a:gd name="T11" fmla="*/ 4 h 86"/>
                <a:gd name="T12" fmla="*/ 26 w 70"/>
                <a:gd name="T13" fmla="*/ 0 h 86"/>
                <a:gd name="T14" fmla="*/ 12 w 70"/>
                <a:gd name="T15" fmla="*/ 6 h 86"/>
                <a:gd name="T16" fmla="*/ 11 w 70"/>
                <a:gd name="T17" fmla="*/ 20 h 86"/>
                <a:gd name="T18" fmla="*/ 12 w 70"/>
                <a:gd name="T19" fmla="*/ 26 h 86"/>
                <a:gd name="T20" fmla="*/ 19 w 70"/>
                <a:gd name="T21" fmla="*/ 40 h 86"/>
                <a:gd name="T22" fmla="*/ 18 w 70"/>
                <a:gd name="T23" fmla="*/ 44 h 86"/>
                <a:gd name="T24" fmla="*/ 0 w 70"/>
                <a:gd name="T25" fmla="*/ 52 h 86"/>
                <a:gd name="T26" fmla="*/ 22 w 70"/>
                <a:gd name="T27" fmla="*/ 64 h 86"/>
                <a:gd name="T28" fmla="*/ 29 w 70"/>
                <a:gd name="T29" fmla="*/ 86 h 86"/>
                <a:gd name="T30" fmla="*/ 67 w 70"/>
                <a:gd name="T31" fmla="*/ 77 h 86"/>
                <a:gd name="T32" fmla="*/ 62 w 70"/>
                <a:gd name="T33" fmla="*/ 5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6">
                  <a:moveTo>
                    <a:pt x="62" y="57"/>
                  </a:moveTo>
                  <a:cubicBezTo>
                    <a:pt x="57" y="53"/>
                    <a:pt x="37" y="44"/>
                    <a:pt x="37" y="44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9" y="37"/>
                    <a:pt x="42" y="33"/>
                    <a:pt x="43" y="26"/>
                  </a:cubicBezTo>
                  <a:cubicBezTo>
                    <a:pt x="45" y="24"/>
                    <a:pt x="45" y="21"/>
                    <a:pt x="44" y="19"/>
                  </a:cubicBezTo>
                  <a:cubicBezTo>
                    <a:pt x="44" y="15"/>
                    <a:pt x="44" y="8"/>
                    <a:pt x="41" y="4"/>
                  </a:cubicBezTo>
                  <a:cubicBezTo>
                    <a:pt x="39" y="2"/>
                    <a:pt x="32" y="0"/>
                    <a:pt x="26" y="0"/>
                  </a:cubicBezTo>
                  <a:cubicBezTo>
                    <a:pt x="18" y="0"/>
                    <a:pt x="14" y="4"/>
                    <a:pt x="12" y="6"/>
                  </a:cubicBezTo>
                  <a:cubicBezTo>
                    <a:pt x="10" y="11"/>
                    <a:pt x="11" y="18"/>
                    <a:pt x="11" y="20"/>
                  </a:cubicBezTo>
                  <a:cubicBezTo>
                    <a:pt x="11" y="22"/>
                    <a:pt x="11" y="25"/>
                    <a:pt x="12" y="26"/>
                  </a:cubicBezTo>
                  <a:cubicBezTo>
                    <a:pt x="13" y="34"/>
                    <a:pt x="16" y="37"/>
                    <a:pt x="19" y="40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9" y="47"/>
                    <a:pt x="0" y="52"/>
                  </a:cubicBezTo>
                  <a:cubicBezTo>
                    <a:pt x="8" y="56"/>
                    <a:pt x="18" y="61"/>
                    <a:pt x="22" y="64"/>
                  </a:cubicBezTo>
                  <a:cubicBezTo>
                    <a:pt x="26" y="68"/>
                    <a:pt x="30" y="79"/>
                    <a:pt x="29" y="86"/>
                  </a:cubicBezTo>
                  <a:cubicBezTo>
                    <a:pt x="43" y="86"/>
                    <a:pt x="56" y="82"/>
                    <a:pt x="67" y="77"/>
                  </a:cubicBezTo>
                  <a:cubicBezTo>
                    <a:pt x="70" y="73"/>
                    <a:pt x="66" y="61"/>
                    <a:pt x="62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79" name="Elbow Connector 78"/>
          <p:cNvCxnSpPr>
            <a:cxnSpLocks/>
          </p:cNvCxnSpPr>
          <p:nvPr/>
        </p:nvCxnSpPr>
        <p:spPr>
          <a:xfrm>
            <a:off x="6578600" y="3505201"/>
            <a:ext cx="1422400" cy="739775"/>
          </a:xfrm>
          <a:prstGeom prst="bentConnector3">
            <a:avLst>
              <a:gd name="adj1" fmla="val 41843"/>
            </a:avLst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cxnSpLocks/>
          </p:cNvCxnSpPr>
          <p:nvPr/>
        </p:nvCxnSpPr>
        <p:spPr>
          <a:xfrm flipV="1">
            <a:off x="6515009" y="4244975"/>
            <a:ext cx="1303338" cy="1158577"/>
          </a:xfrm>
          <a:prstGeom prst="bentConnector3">
            <a:avLst>
              <a:gd name="adj1" fmla="val 50000"/>
            </a:avLst>
          </a:prstGeom>
          <a:ln w="254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6640514" y="4244975"/>
            <a:ext cx="120967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>
            <a:spLocks noChangeArrowheads="1"/>
          </p:cNvSpPr>
          <p:nvPr/>
        </p:nvSpPr>
        <p:spPr bwMode="auto">
          <a:xfrm>
            <a:off x="8126505" y="4101859"/>
            <a:ext cx="1547219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400" b="1" dirty="0">
                <a:latin typeface="Raleway" charset="0"/>
              </a:rPr>
              <a:t>Mayor inversión</a:t>
            </a:r>
            <a:endParaRPr lang="id-ID" sz="1400" b="1" dirty="0">
              <a:latin typeface="Raleway" charset="0"/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8268200" y="4396029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8285065" y="3417974"/>
            <a:ext cx="841570" cy="623093"/>
            <a:chOff x="8779559" y="3177835"/>
            <a:chExt cx="1693862" cy="1254125"/>
          </a:xfrm>
          <a:solidFill>
            <a:schemeClr val="accent1"/>
          </a:solidFill>
        </p:grpSpPr>
        <p:sp>
          <p:nvSpPr>
            <p:cNvPr id="101" name="Freeform 20"/>
            <p:cNvSpPr>
              <a:spLocks noEditPoints="1"/>
            </p:cNvSpPr>
            <p:nvPr/>
          </p:nvSpPr>
          <p:spPr bwMode="auto">
            <a:xfrm>
              <a:off x="8901113" y="3841750"/>
              <a:ext cx="471487" cy="469900"/>
            </a:xfrm>
            <a:custGeom>
              <a:avLst/>
              <a:gdLst>
                <a:gd name="T0" fmla="*/ 392 w 784"/>
                <a:gd name="T1" fmla="*/ 0 h 783"/>
                <a:gd name="T2" fmla="*/ 0 w 784"/>
                <a:gd name="T3" fmla="*/ 391 h 783"/>
                <a:gd name="T4" fmla="*/ 392 w 784"/>
                <a:gd name="T5" fmla="*/ 783 h 783"/>
                <a:gd name="T6" fmla="*/ 784 w 784"/>
                <a:gd name="T7" fmla="*/ 391 h 783"/>
                <a:gd name="T8" fmla="*/ 392 w 784"/>
                <a:gd name="T9" fmla="*/ 0 h 783"/>
                <a:gd name="T10" fmla="*/ 392 w 784"/>
                <a:gd name="T11" fmla="*/ 712 h 783"/>
                <a:gd name="T12" fmla="*/ 72 w 784"/>
                <a:gd name="T13" fmla="*/ 391 h 783"/>
                <a:gd name="T14" fmla="*/ 392 w 784"/>
                <a:gd name="T15" fmla="*/ 71 h 783"/>
                <a:gd name="T16" fmla="*/ 713 w 784"/>
                <a:gd name="T17" fmla="*/ 391 h 783"/>
                <a:gd name="T18" fmla="*/ 392 w 784"/>
                <a:gd name="T19" fmla="*/ 712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4" h="783">
                  <a:moveTo>
                    <a:pt x="392" y="0"/>
                  </a:move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8" y="783"/>
                    <a:pt x="784" y="608"/>
                    <a:pt x="784" y="391"/>
                  </a:cubicBezTo>
                  <a:cubicBezTo>
                    <a:pt x="784" y="175"/>
                    <a:pt x="608" y="0"/>
                    <a:pt x="392" y="0"/>
                  </a:cubicBezTo>
                  <a:close/>
                  <a:moveTo>
                    <a:pt x="392" y="712"/>
                  </a:moveTo>
                  <a:cubicBezTo>
                    <a:pt x="216" y="712"/>
                    <a:pt x="72" y="568"/>
                    <a:pt x="72" y="391"/>
                  </a:cubicBezTo>
                  <a:cubicBezTo>
                    <a:pt x="72" y="215"/>
                    <a:pt x="216" y="71"/>
                    <a:pt x="392" y="71"/>
                  </a:cubicBezTo>
                  <a:cubicBezTo>
                    <a:pt x="569" y="71"/>
                    <a:pt x="713" y="215"/>
                    <a:pt x="713" y="391"/>
                  </a:cubicBezTo>
                  <a:cubicBezTo>
                    <a:pt x="713" y="568"/>
                    <a:pt x="569" y="712"/>
                    <a:pt x="392" y="7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02" name="Freeform 21"/>
            <p:cNvSpPr>
              <a:spLocks/>
            </p:cNvSpPr>
            <p:nvPr/>
          </p:nvSpPr>
          <p:spPr bwMode="auto">
            <a:xfrm>
              <a:off x="9028113" y="3924300"/>
              <a:ext cx="219075" cy="300038"/>
            </a:xfrm>
            <a:custGeom>
              <a:avLst/>
              <a:gdLst>
                <a:gd name="T0" fmla="*/ 315 w 363"/>
                <a:gd name="T1" fmla="*/ 237 h 500"/>
                <a:gd name="T2" fmla="*/ 240 w 363"/>
                <a:gd name="T3" fmla="*/ 200 h 500"/>
                <a:gd name="T4" fmla="*/ 161 w 363"/>
                <a:gd name="T5" fmla="*/ 161 h 500"/>
                <a:gd name="T6" fmla="*/ 148 w 363"/>
                <a:gd name="T7" fmla="*/ 127 h 500"/>
                <a:gd name="T8" fmla="*/ 154 w 363"/>
                <a:gd name="T9" fmla="*/ 105 h 500"/>
                <a:gd name="T10" fmla="*/ 174 w 363"/>
                <a:gd name="T11" fmla="*/ 97 h 500"/>
                <a:gd name="T12" fmla="*/ 196 w 363"/>
                <a:gd name="T13" fmla="*/ 106 h 500"/>
                <a:gd name="T14" fmla="*/ 201 w 363"/>
                <a:gd name="T15" fmla="*/ 142 h 500"/>
                <a:gd name="T16" fmla="*/ 201 w 363"/>
                <a:gd name="T17" fmla="*/ 160 h 500"/>
                <a:gd name="T18" fmla="*/ 346 w 363"/>
                <a:gd name="T19" fmla="*/ 160 h 500"/>
                <a:gd name="T20" fmla="*/ 347 w 363"/>
                <a:gd name="T21" fmla="*/ 140 h 500"/>
                <a:gd name="T22" fmla="*/ 314 w 363"/>
                <a:gd name="T23" fmla="*/ 67 h 500"/>
                <a:gd name="T24" fmla="*/ 214 w 363"/>
                <a:gd name="T25" fmla="*/ 34 h 500"/>
                <a:gd name="T26" fmla="*/ 214 w 363"/>
                <a:gd name="T27" fmla="*/ 0 h 500"/>
                <a:gd name="T28" fmla="*/ 147 w 363"/>
                <a:gd name="T29" fmla="*/ 0 h 500"/>
                <a:gd name="T30" fmla="*/ 147 w 363"/>
                <a:gd name="T31" fmla="*/ 34 h 500"/>
                <a:gd name="T32" fmla="*/ 36 w 363"/>
                <a:gd name="T33" fmla="*/ 67 h 500"/>
                <a:gd name="T34" fmla="*/ 0 w 363"/>
                <a:gd name="T35" fmla="*/ 141 h 500"/>
                <a:gd name="T36" fmla="*/ 17 w 363"/>
                <a:gd name="T37" fmla="*/ 199 h 500"/>
                <a:gd name="T38" fmla="*/ 58 w 363"/>
                <a:gd name="T39" fmla="*/ 239 h 500"/>
                <a:gd name="T40" fmla="*/ 149 w 363"/>
                <a:gd name="T41" fmla="*/ 284 h 500"/>
                <a:gd name="T42" fmla="*/ 195 w 363"/>
                <a:gd name="T43" fmla="*/ 317 h 500"/>
                <a:gd name="T44" fmla="*/ 202 w 363"/>
                <a:gd name="T45" fmla="*/ 368 h 500"/>
                <a:gd name="T46" fmla="*/ 195 w 363"/>
                <a:gd name="T47" fmla="*/ 389 h 500"/>
                <a:gd name="T48" fmla="*/ 173 w 363"/>
                <a:gd name="T49" fmla="*/ 396 h 500"/>
                <a:gd name="T50" fmla="*/ 151 w 363"/>
                <a:gd name="T51" fmla="*/ 386 h 500"/>
                <a:gd name="T52" fmla="*/ 147 w 363"/>
                <a:gd name="T53" fmla="*/ 333 h 500"/>
                <a:gd name="T54" fmla="*/ 147 w 363"/>
                <a:gd name="T55" fmla="*/ 307 h 500"/>
                <a:gd name="T56" fmla="*/ 2 w 363"/>
                <a:gd name="T57" fmla="*/ 307 h 500"/>
                <a:gd name="T58" fmla="*/ 2 w 363"/>
                <a:gd name="T59" fmla="*/ 328 h 500"/>
                <a:gd name="T60" fmla="*/ 45 w 363"/>
                <a:gd name="T61" fmla="*/ 426 h 500"/>
                <a:gd name="T62" fmla="*/ 147 w 363"/>
                <a:gd name="T63" fmla="*/ 459 h 500"/>
                <a:gd name="T64" fmla="*/ 147 w 363"/>
                <a:gd name="T65" fmla="*/ 500 h 500"/>
                <a:gd name="T66" fmla="*/ 214 w 363"/>
                <a:gd name="T67" fmla="*/ 500 h 500"/>
                <a:gd name="T68" fmla="*/ 214 w 363"/>
                <a:gd name="T69" fmla="*/ 460 h 500"/>
                <a:gd name="T70" fmla="*/ 325 w 363"/>
                <a:gd name="T71" fmla="*/ 421 h 500"/>
                <a:gd name="T72" fmla="*/ 363 w 363"/>
                <a:gd name="T73" fmla="*/ 332 h 500"/>
                <a:gd name="T74" fmla="*/ 349 w 363"/>
                <a:gd name="T75" fmla="*/ 274 h 500"/>
                <a:gd name="T76" fmla="*/ 315 w 363"/>
                <a:gd name="T77" fmla="*/ 23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3" h="500">
                  <a:moveTo>
                    <a:pt x="315" y="237"/>
                  </a:moveTo>
                  <a:cubicBezTo>
                    <a:pt x="302" y="228"/>
                    <a:pt x="277" y="216"/>
                    <a:pt x="240" y="200"/>
                  </a:cubicBezTo>
                  <a:cubicBezTo>
                    <a:pt x="196" y="181"/>
                    <a:pt x="170" y="168"/>
                    <a:pt x="161" y="161"/>
                  </a:cubicBezTo>
                  <a:cubicBezTo>
                    <a:pt x="152" y="155"/>
                    <a:pt x="148" y="143"/>
                    <a:pt x="148" y="127"/>
                  </a:cubicBezTo>
                  <a:cubicBezTo>
                    <a:pt x="148" y="117"/>
                    <a:pt x="150" y="109"/>
                    <a:pt x="154" y="105"/>
                  </a:cubicBezTo>
                  <a:cubicBezTo>
                    <a:pt x="159" y="100"/>
                    <a:pt x="166" y="97"/>
                    <a:pt x="174" y="97"/>
                  </a:cubicBezTo>
                  <a:cubicBezTo>
                    <a:pt x="185" y="97"/>
                    <a:pt x="193" y="100"/>
                    <a:pt x="196" y="106"/>
                  </a:cubicBezTo>
                  <a:cubicBezTo>
                    <a:pt x="199" y="111"/>
                    <a:pt x="201" y="124"/>
                    <a:pt x="201" y="142"/>
                  </a:cubicBezTo>
                  <a:cubicBezTo>
                    <a:pt x="201" y="160"/>
                    <a:pt x="201" y="160"/>
                    <a:pt x="201" y="160"/>
                  </a:cubicBezTo>
                  <a:cubicBezTo>
                    <a:pt x="346" y="160"/>
                    <a:pt x="346" y="160"/>
                    <a:pt x="346" y="160"/>
                  </a:cubicBezTo>
                  <a:cubicBezTo>
                    <a:pt x="347" y="151"/>
                    <a:pt x="347" y="144"/>
                    <a:pt x="347" y="140"/>
                  </a:cubicBezTo>
                  <a:cubicBezTo>
                    <a:pt x="347" y="109"/>
                    <a:pt x="336" y="84"/>
                    <a:pt x="314" y="67"/>
                  </a:cubicBezTo>
                  <a:cubicBezTo>
                    <a:pt x="292" y="49"/>
                    <a:pt x="258" y="38"/>
                    <a:pt x="214" y="34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98" y="38"/>
                    <a:pt x="61" y="49"/>
                    <a:pt x="36" y="67"/>
                  </a:cubicBezTo>
                  <a:cubicBezTo>
                    <a:pt x="12" y="85"/>
                    <a:pt x="0" y="110"/>
                    <a:pt x="0" y="141"/>
                  </a:cubicBezTo>
                  <a:cubicBezTo>
                    <a:pt x="0" y="163"/>
                    <a:pt x="5" y="182"/>
                    <a:pt x="17" y="199"/>
                  </a:cubicBezTo>
                  <a:cubicBezTo>
                    <a:pt x="29" y="217"/>
                    <a:pt x="42" y="230"/>
                    <a:pt x="58" y="239"/>
                  </a:cubicBezTo>
                  <a:cubicBezTo>
                    <a:pt x="74" y="249"/>
                    <a:pt x="104" y="264"/>
                    <a:pt x="149" y="284"/>
                  </a:cubicBezTo>
                  <a:cubicBezTo>
                    <a:pt x="175" y="296"/>
                    <a:pt x="191" y="307"/>
                    <a:pt x="195" y="317"/>
                  </a:cubicBezTo>
                  <a:cubicBezTo>
                    <a:pt x="200" y="327"/>
                    <a:pt x="202" y="344"/>
                    <a:pt x="202" y="368"/>
                  </a:cubicBezTo>
                  <a:cubicBezTo>
                    <a:pt x="202" y="377"/>
                    <a:pt x="200" y="384"/>
                    <a:pt x="195" y="389"/>
                  </a:cubicBezTo>
                  <a:cubicBezTo>
                    <a:pt x="190" y="394"/>
                    <a:pt x="183" y="396"/>
                    <a:pt x="173" y="396"/>
                  </a:cubicBezTo>
                  <a:cubicBezTo>
                    <a:pt x="161" y="396"/>
                    <a:pt x="154" y="393"/>
                    <a:pt x="151" y="386"/>
                  </a:cubicBezTo>
                  <a:cubicBezTo>
                    <a:pt x="148" y="379"/>
                    <a:pt x="147" y="361"/>
                    <a:pt x="147" y="333"/>
                  </a:cubicBezTo>
                  <a:cubicBezTo>
                    <a:pt x="147" y="307"/>
                    <a:pt x="147" y="307"/>
                    <a:pt x="147" y="307"/>
                  </a:cubicBezTo>
                  <a:cubicBezTo>
                    <a:pt x="2" y="307"/>
                    <a:pt x="2" y="307"/>
                    <a:pt x="2" y="307"/>
                  </a:cubicBezTo>
                  <a:cubicBezTo>
                    <a:pt x="2" y="328"/>
                    <a:pt x="2" y="328"/>
                    <a:pt x="2" y="328"/>
                  </a:cubicBezTo>
                  <a:cubicBezTo>
                    <a:pt x="2" y="375"/>
                    <a:pt x="16" y="408"/>
                    <a:pt x="45" y="426"/>
                  </a:cubicBezTo>
                  <a:cubicBezTo>
                    <a:pt x="74" y="445"/>
                    <a:pt x="108" y="456"/>
                    <a:pt x="147" y="459"/>
                  </a:cubicBezTo>
                  <a:cubicBezTo>
                    <a:pt x="147" y="500"/>
                    <a:pt x="147" y="500"/>
                    <a:pt x="147" y="500"/>
                  </a:cubicBezTo>
                  <a:cubicBezTo>
                    <a:pt x="214" y="500"/>
                    <a:pt x="214" y="500"/>
                    <a:pt x="214" y="500"/>
                  </a:cubicBezTo>
                  <a:cubicBezTo>
                    <a:pt x="214" y="460"/>
                    <a:pt x="214" y="460"/>
                    <a:pt x="214" y="460"/>
                  </a:cubicBezTo>
                  <a:cubicBezTo>
                    <a:pt x="263" y="455"/>
                    <a:pt x="301" y="442"/>
                    <a:pt x="325" y="421"/>
                  </a:cubicBezTo>
                  <a:cubicBezTo>
                    <a:pt x="350" y="399"/>
                    <a:pt x="363" y="370"/>
                    <a:pt x="363" y="332"/>
                  </a:cubicBezTo>
                  <a:cubicBezTo>
                    <a:pt x="363" y="309"/>
                    <a:pt x="358" y="289"/>
                    <a:pt x="349" y="274"/>
                  </a:cubicBezTo>
                  <a:cubicBezTo>
                    <a:pt x="340" y="258"/>
                    <a:pt x="328" y="246"/>
                    <a:pt x="315" y="2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03" name="Freeform 22"/>
            <p:cNvSpPr>
              <a:spLocks noEditPoints="1"/>
            </p:cNvSpPr>
            <p:nvPr/>
          </p:nvSpPr>
          <p:spPr bwMode="auto">
            <a:xfrm>
              <a:off x="8779559" y="3177835"/>
              <a:ext cx="1693862" cy="1254125"/>
            </a:xfrm>
            <a:custGeom>
              <a:avLst/>
              <a:gdLst>
                <a:gd name="T0" fmla="*/ 2668 w 2820"/>
                <a:gd name="T1" fmla="*/ 799 h 2088"/>
                <a:gd name="T2" fmla="*/ 1484 w 2820"/>
                <a:gd name="T3" fmla="*/ 701 h 2088"/>
                <a:gd name="T4" fmla="*/ 1397 w 2820"/>
                <a:gd name="T5" fmla="*/ 474 h 2088"/>
                <a:gd name="T6" fmla="*/ 1549 w 2820"/>
                <a:gd name="T7" fmla="*/ 431 h 2088"/>
                <a:gd name="T8" fmla="*/ 1549 w 2820"/>
                <a:gd name="T9" fmla="*/ 0 h 2088"/>
                <a:gd name="T10" fmla="*/ 393 w 2820"/>
                <a:gd name="T11" fmla="*/ 0 h 2088"/>
                <a:gd name="T12" fmla="*/ 338 w 2820"/>
                <a:gd name="T13" fmla="*/ 237 h 2088"/>
                <a:gd name="T14" fmla="*/ 241 w 2820"/>
                <a:gd name="T15" fmla="*/ 571 h 2088"/>
                <a:gd name="T16" fmla="*/ 328 w 2820"/>
                <a:gd name="T17" fmla="*/ 808 h 2088"/>
                <a:gd name="T18" fmla="*/ 448 w 2820"/>
                <a:gd name="T19" fmla="*/ 905 h 2088"/>
                <a:gd name="T20" fmla="*/ 0 w 2820"/>
                <a:gd name="T21" fmla="*/ 1495 h 2088"/>
                <a:gd name="T22" fmla="*/ 1652 w 2820"/>
                <a:gd name="T23" fmla="*/ 2088 h 2088"/>
                <a:gd name="T24" fmla="*/ 2659 w 2820"/>
                <a:gd name="T25" fmla="*/ 2087 h 2088"/>
                <a:gd name="T26" fmla="*/ 2756 w 2820"/>
                <a:gd name="T27" fmla="*/ 1753 h 2088"/>
                <a:gd name="T28" fmla="*/ 2546 w 2820"/>
                <a:gd name="T29" fmla="*/ 1655 h 2088"/>
                <a:gd name="T30" fmla="*/ 2668 w 2820"/>
                <a:gd name="T31" fmla="*/ 1613 h 2088"/>
                <a:gd name="T32" fmla="*/ 2723 w 2820"/>
                <a:gd name="T33" fmla="*/ 1376 h 2088"/>
                <a:gd name="T34" fmla="*/ 2820 w 2820"/>
                <a:gd name="T35" fmla="*/ 1042 h 2088"/>
                <a:gd name="T36" fmla="*/ 1658 w 2820"/>
                <a:gd name="T37" fmla="*/ 848 h 2088"/>
                <a:gd name="T38" fmla="*/ 1658 w 2820"/>
                <a:gd name="T39" fmla="*/ 987 h 2088"/>
                <a:gd name="T40" fmla="*/ 1713 w 2820"/>
                <a:gd name="T41" fmla="*/ 1085 h 2088"/>
                <a:gd name="T42" fmla="*/ 1644 w 2820"/>
                <a:gd name="T43" fmla="*/ 1085 h 2088"/>
                <a:gd name="T44" fmla="*/ 2497 w 2820"/>
                <a:gd name="T45" fmla="*/ 1467 h 2088"/>
                <a:gd name="T46" fmla="*/ 1713 w 2820"/>
                <a:gd name="T47" fmla="*/ 1327 h 2088"/>
                <a:gd name="T48" fmla="*/ 1436 w 2820"/>
                <a:gd name="T49" fmla="*/ 1565 h 2088"/>
                <a:gd name="T50" fmla="*/ 1096 w 2820"/>
                <a:gd name="T51" fmla="*/ 1705 h 2088"/>
                <a:gd name="T52" fmla="*/ 1338 w 2820"/>
                <a:gd name="T53" fmla="*/ 1329 h 2088"/>
                <a:gd name="T54" fmla="*/ 1111 w 2820"/>
                <a:gd name="T55" fmla="*/ 1329 h 2088"/>
                <a:gd name="T56" fmla="*/ 1561 w 2820"/>
                <a:gd name="T57" fmla="*/ 1329 h 2088"/>
                <a:gd name="T58" fmla="*/ 1439 w 2820"/>
                <a:gd name="T59" fmla="*/ 1468 h 2088"/>
                <a:gd name="T60" fmla="*/ 1546 w 2820"/>
                <a:gd name="T61" fmla="*/ 1231 h 2088"/>
                <a:gd name="T62" fmla="*/ 1546 w 2820"/>
                <a:gd name="T63" fmla="*/ 1094 h 2088"/>
                <a:gd name="T64" fmla="*/ 1458 w 2820"/>
                <a:gd name="T65" fmla="*/ 996 h 2088"/>
                <a:gd name="T66" fmla="*/ 594 w 2820"/>
                <a:gd name="T67" fmla="*/ 857 h 2088"/>
                <a:gd name="T68" fmla="*/ 474 w 2820"/>
                <a:gd name="T69" fmla="*/ 759 h 2088"/>
                <a:gd name="T70" fmla="*/ 1338 w 2820"/>
                <a:gd name="T71" fmla="*/ 759 h 2088"/>
                <a:gd name="T72" fmla="*/ 1403 w 2820"/>
                <a:gd name="T73" fmla="*/ 146 h 2088"/>
                <a:gd name="T74" fmla="*/ 539 w 2820"/>
                <a:gd name="T75" fmla="*/ 285 h 2088"/>
                <a:gd name="T76" fmla="*/ 387 w 2820"/>
                <a:gd name="T77" fmla="*/ 383 h 2088"/>
                <a:gd name="T78" fmla="*/ 1251 w 2820"/>
                <a:gd name="T79" fmla="*/ 522 h 2088"/>
                <a:gd name="T80" fmla="*/ 593 w 2820"/>
                <a:gd name="T81" fmla="*/ 1049 h 2088"/>
                <a:gd name="T82" fmla="*/ 146 w 2820"/>
                <a:gd name="T83" fmla="*/ 1495 h 2088"/>
                <a:gd name="T84" fmla="*/ 1042 w 2820"/>
                <a:gd name="T85" fmla="*/ 1803 h 2088"/>
                <a:gd name="T86" fmla="*/ 1649 w 2820"/>
                <a:gd name="T87" fmla="*/ 1704 h 2088"/>
                <a:gd name="T88" fmla="*/ 1561 w 2820"/>
                <a:gd name="T89" fmla="*/ 1564 h 2088"/>
                <a:gd name="T90" fmla="*/ 1649 w 2820"/>
                <a:gd name="T91" fmla="*/ 1704 h 2088"/>
                <a:gd name="T92" fmla="*/ 1746 w 2820"/>
                <a:gd name="T93" fmla="*/ 1941 h 2088"/>
                <a:gd name="T94" fmla="*/ 2610 w 2820"/>
                <a:gd name="T95" fmla="*/ 1801 h 2088"/>
                <a:gd name="T96" fmla="*/ 1810 w 2820"/>
                <a:gd name="T97" fmla="*/ 1230 h 2088"/>
                <a:gd name="T98" fmla="*/ 2674 w 2820"/>
                <a:gd name="T99" fmla="*/ 1230 h 2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0" h="2088">
                  <a:moveTo>
                    <a:pt x="2723" y="944"/>
                  </a:moveTo>
                  <a:cubicBezTo>
                    <a:pt x="2668" y="944"/>
                    <a:pt x="2668" y="944"/>
                    <a:pt x="2668" y="944"/>
                  </a:cubicBezTo>
                  <a:cubicBezTo>
                    <a:pt x="2668" y="799"/>
                    <a:pt x="2668" y="799"/>
                    <a:pt x="2668" y="799"/>
                  </a:cubicBezTo>
                  <a:cubicBezTo>
                    <a:pt x="2668" y="701"/>
                    <a:pt x="2668" y="701"/>
                    <a:pt x="2668" y="701"/>
                  </a:cubicBezTo>
                  <a:cubicBezTo>
                    <a:pt x="2571" y="701"/>
                    <a:pt x="2571" y="701"/>
                    <a:pt x="2571" y="701"/>
                  </a:cubicBezTo>
                  <a:cubicBezTo>
                    <a:pt x="1484" y="701"/>
                    <a:pt x="1484" y="701"/>
                    <a:pt x="1484" y="701"/>
                  </a:cubicBezTo>
                  <a:cubicBezTo>
                    <a:pt x="1484" y="571"/>
                    <a:pt x="1484" y="571"/>
                    <a:pt x="1484" y="571"/>
                  </a:cubicBezTo>
                  <a:cubicBezTo>
                    <a:pt x="1484" y="474"/>
                    <a:pt x="1484" y="474"/>
                    <a:pt x="1484" y="474"/>
                  </a:cubicBezTo>
                  <a:cubicBezTo>
                    <a:pt x="1397" y="474"/>
                    <a:pt x="1397" y="474"/>
                    <a:pt x="1397" y="474"/>
                  </a:cubicBezTo>
                  <a:cubicBezTo>
                    <a:pt x="1397" y="431"/>
                    <a:pt x="1397" y="431"/>
                    <a:pt x="1397" y="431"/>
                  </a:cubicBezTo>
                  <a:cubicBezTo>
                    <a:pt x="1452" y="431"/>
                    <a:pt x="1452" y="431"/>
                    <a:pt x="1452" y="431"/>
                  </a:cubicBezTo>
                  <a:cubicBezTo>
                    <a:pt x="1549" y="431"/>
                    <a:pt x="1549" y="431"/>
                    <a:pt x="1549" y="431"/>
                  </a:cubicBezTo>
                  <a:cubicBezTo>
                    <a:pt x="1549" y="334"/>
                    <a:pt x="1549" y="334"/>
                    <a:pt x="1549" y="334"/>
                  </a:cubicBezTo>
                  <a:cubicBezTo>
                    <a:pt x="1549" y="97"/>
                    <a:pt x="1549" y="97"/>
                    <a:pt x="1549" y="97"/>
                  </a:cubicBezTo>
                  <a:cubicBezTo>
                    <a:pt x="1549" y="0"/>
                    <a:pt x="1549" y="0"/>
                    <a:pt x="1549" y="0"/>
                  </a:cubicBezTo>
                  <a:cubicBezTo>
                    <a:pt x="1452" y="0"/>
                    <a:pt x="1452" y="0"/>
                    <a:pt x="1452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393" y="0"/>
                    <a:pt x="393" y="0"/>
                    <a:pt x="393" y="0"/>
                  </a:cubicBezTo>
                  <a:cubicBezTo>
                    <a:pt x="393" y="97"/>
                    <a:pt x="393" y="97"/>
                    <a:pt x="393" y="97"/>
                  </a:cubicBezTo>
                  <a:cubicBezTo>
                    <a:pt x="393" y="237"/>
                    <a:pt x="393" y="237"/>
                    <a:pt x="393" y="237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241" y="237"/>
                    <a:pt x="241" y="237"/>
                    <a:pt x="241" y="237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571"/>
                    <a:pt x="241" y="571"/>
                    <a:pt x="241" y="571"/>
                  </a:cubicBezTo>
                  <a:cubicBezTo>
                    <a:pt x="241" y="668"/>
                    <a:pt x="241" y="668"/>
                    <a:pt x="241" y="668"/>
                  </a:cubicBezTo>
                  <a:cubicBezTo>
                    <a:pt x="328" y="668"/>
                    <a:pt x="328" y="668"/>
                    <a:pt x="328" y="668"/>
                  </a:cubicBezTo>
                  <a:cubicBezTo>
                    <a:pt x="328" y="808"/>
                    <a:pt x="328" y="808"/>
                    <a:pt x="328" y="808"/>
                  </a:cubicBezTo>
                  <a:cubicBezTo>
                    <a:pt x="328" y="905"/>
                    <a:pt x="328" y="905"/>
                    <a:pt x="328" y="905"/>
                  </a:cubicBezTo>
                  <a:cubicBezTo>
                    <a:pt x="426" y="905"/>
                    <a:pt x="426" y="905"/>
                    <a:pt x="426" y="905"/>
                  </a:cubicBezTo>
                  <a:cubicBezTo>
                    <a:pt x="448" y="905"/>
                    <a:pt x="448" y="905"/>
                    <a:pt x="448" y="905"/>
                  </a:cubicBezTo>
                  <a:cubicBezTo>
                    <a:pt x="448" y="921"/>
                    <a:pt x="448" y="921"/>
                    <a:pt x="448" y="921"/>
                  </a:cubicBezTo>
                  <a:cubicBezTo>
                    <a:pt x="336" y="949"/>
                    <a:pt x="235" y="1009"/>
                    <a:pt x="156" y="1096"/>
                  </a:cubicBezTo>
                  <a:cubicBezTo>
                    <a:pt x="55" y="1205"/>
                    <a:pt x="0" y="1347"/>
                    <a:pt x="0" y="1495"/>
                  </a:cubicBezTo>
                  <a:cubicBezTo>
                    <a:pt x="0" y="1822"/>
                    <a:pt x="266" y="2088"/>
                    <a:pt x="593" y="2088"/>
                  </a:cubicBezTo>
                  <a:cubicBezTo>
                    <a:pt x="1554" y="2088"/>
                    <a:pt x="1554" y="2088"/>
                    <a:pt x="1554" y="2088"/>
                  </a:cubicBezTo>
                  <a:cubicBezTo>
                    <a:pt x="1652" y="2088"/>
                    <a:pt x="1652" y="2088"/>
                    <a:pt x="1652" y="2088"/>
                  </a:cubicBezTo>
                  <a:cubicBezTo>
                    <a:pt x="1652" y="2087"/>
                    <a:pt x="1652" y="2087"/>
                    <a:pt x="1652" y="2087"/>
                  </a:cubicBezTo>
                  <a:cubicBezTo>
                    <a:pt x="1697" y="2087"/>
                    <a:pt x="1697" y="2087"/>
                    <a:pt x="1697" y="2087"/>
                  </a:cubicBezTo>
                  <a:cubicBezTo>
                    <a:pt x="2659" y="2087"/>
                    <a:pt x="2659" y="2087"/>
                    <a:pt x="2659" y="2087"/>
                  </a:cubicBezTo>
                  <a:cubicBezTo>
                    <a:pt x="2756" y="2087"/>
                    <a:pt x="2756" y="2087"/>
                    <a:pt x="2756" y="2087"/>
                  </a:cubicBezTo>
                  <a:cubicBezTo>
                    <a:pt x="2756" y="1990"/>
                    <a:pt x="2756" y="1990"/>
                    <a:pt x="2756" y="1990"/>
                  </a:cubicBezTo>
                  <a:cubicBezTo>
                    <a:pt x="2756" y="1753"/>
                    <a:pt x="2756" y="1753"/>
                    <a:pt x="2756" y="1753"/>
                  </a:cubicBezTo>
                  <a:cubicBezTo>
                    <a:pt x="2756" y="1655"/>
                    <a:pt x="2756" y="1655"/>
                    <a:pt x="2756" y="1655"/>
                  </a:cubicBezTo>
                  <a:cubicBezTo>
                    <a:pt x="2659" y="1655"/>
                    <a:pt x="2659" y="1655"/>
                    <a:pt x="2659" y="1655"/>
                  </a:cubicBezTo>
                  <a:cubicBezTo>
                    <a:pt x="2546" y="1655"/>
                    <a:pt x="2546" y="1655"/>
                    <a:pt x="2546" y="1655"/>
                  </a:cubicBezTo>
                  <a:cubicBezTo>
                    <a:pt x="2546" y="1613"/>
                    <a:pt x="2546" y="1613"/>
                    <a:pt x="2546" y="1613"/>
                  </a:cubicBezTo>
                  <a:cubicBezTo>
                    <a:pt x="2571" y="1613"/>
                    <a:pt x="2571" y="1613"/>
                    <a:pt x="2571" y="1613"/>
                  </a:cubicBezTo>
                  <a:cubicBezTo>
                    <a:pt x="2668" y="1613"/>
                    <a:pt x="2668" y="1613"/>
                    <a:pt x="2668" y="1613"/>
                  </a:cubicBezTo>
                  <a:cubicBezTo>
                    <a:pt x="2668" y="1516"/>
                    <a:pt x="2668" y="1516"/>
                    <a:pt x="2668" y="1516"/>
                  </a:cubicBezTo>
                  <a:cubicBezTo>
                    <a:pt x="2668" y="1376"/>
                    <a:pt x="2668" y="1376"/>
                    <a:pt x="2668" y="1376"/>
                  </a:cubicBezTo>
                  <a:cubicBezTo>
                    <a:pt x="2723" y="1376"/>
                    <a:pt x="2723" y="1376"/>
                    <a:pt x="2723" y="1376"/>
                  </a:cubicBezTo>
                  <a:cubicBezTo>
                    <a:pt x="2820" y="1376"/>
                    <a:pt x="2820" y="1376"/>
                    <a:pt x="2820" y="1376"/>
                  </a:cubicBezTo>
                  <a:cubicBezTo>
                    <a:pt x="2820" y="1279"/>
                    <a:pt x="2820" y="1279"/>
                    <a:pt x="2820" y="1279"/>
                  </a:cubicBezTo>
                  <a:cubicBezTo>
                    <a:pt x="2820" y="1042"/>
                    <a:pt x="2820" y="1042"/>
                    <a:pt x="2820" y="1042"/>
                  </a:cubicBezTo>
                  <a:cubicBezTo>
                    <a:pt x="2820" y="944"/>
                    <a:pt x="2820" y="944"/>
                    <a:pt x="2820" y="944"/>
                  </a:cubicBezTo>
                  <a:lnTo>
                    <a:pt x="2723" y="944"/>
                  </a:lnTo>
                  <a:close/>
                  <a:moveTo>
                    <a:pt x="1658" y="848"/>
                  </a:moveTo>
                  <a:cubicBezTo>
                    <a:pt x="2522" y="848"/>
                    <a:pt x="2522" y="848"/>
                    <a:pt x="2522" y="848"/>
                  </a:cubicBezTo>
                  <a:cubicBezTo>
                    <a:pt x="2522" y="987"/>
                    <a:pt x="2522" y="987"/>
                    <a:pt x="2522" y="987"/>
                  </a:cubicBezTo>
                  <a:cubicBezTo>
                    <a:pt x="1658" y="987"/>
                    <a:pt x="1658" y="987"/>
                    <a:pt x="1658" y="987"/>
                  </a:cubicBezTo>
                  <a:lnTo>
                    <a:pt x="1658" y="848"/>
                  </a:lnTo>
                  <a:close/>
                  <a:moveTo>
                    <a:pt x="1644" y="1085"/>
                  </a:moveTo>
                  <a:cubicBezTo>
                    <a:pt x="1713" y="1085"/>
                    <a:pt x="1713" y="1085"/>
                    <a:pt x="1713" y="1085"/>
                  </a:cubicBezTo>
                  <a:cubicBezTo>
                    <a:pt x="1713" y="1230"/>
                    <a:pt x="1713" y="1230"/>
                    <a:pt x="1713" y="1230"/>
                  </a:cubicBezTo>
                  <a:cubicBezTo>
                    <a:pt x="1644" y="1230"/>
                    <a:pt x="1644" y="1230"/>
                    <a:pt x="1644" y="1230"/>
                  </a:cubicBezTo>
                  <a:lnTo>
                    <a:pt x="1644" y="1085"/>
                  </a:lnTo>
                  <a:close/>
                  <a:moveTo>
                    <a:pt x="2522" y="1327"/>
                  </a:moveTo>
                  <a:cubicBezTo>
                    <a:pt x="2522" y="1467"/>
                    <a:pt x="2522" y="1467"/>
                    <a:pt x="2522" y="1467"/>
                  </a:cubicBezTo>
                  <a:cubicBezTo>
                    <a:pt x="2497" y="1467"/>
                    <a:pt x="2497" y="1467"/>
                    <a:pt x="2497" y="1467"/>
                  </a:cubicBezTo>
                  <a:cubicBezTo>
                    <a:pt x="1658" y="1467"/>
                    <a:pt x="1658" y="1467"/>
                    <a:pt x="1658" y="1467"/>
                  </a:cubicBezTo>
                  <a:cubicBezTo>
                    <a:pt x="1658" y="1327"/>
                    <a:pt x="1658" y="1327"/>
                    <a:pt x="1658" y="1327"/>
                  </a:cubicBezTo>
                  <a:cubicBezTo>
                    <a:pt x="1713" y="1327"/>
                    <a:pt x="1713" y="1327"/>
                    <a:pt x="1713" y="1327"/>
                  </a:cubicBezTo>
                  <a:lnTo>
                    <a:pt x="2522" y="1327"/>
                  </a:lnTo>
                  <a:close/>
                  <a:moveTo>
                    <a:pt x="1133" y="1565"/>
                  </a:moveTo>
                  <a:cubicBezTo>
                    <a:pt x="1436" y="1565"/>
                    <a:pt x="1436" y="1565"/>
                    <a:pt x="1436" y="1565"/>
                  </a:cubicBezTo>
                  <a:cubicBezTo>
                    <a:pt x="1439" y="1565"/>
                    <a:pt x="1439" y="1565"/>
                    <a:pt x="1439" y="1565"/>
                  </a:cubicBezTo>
                  <a:cubicBezTo>
                    <a:pt x="1439" y="1705"/>
                    <a:pt x="1439" y="1705"/>
                    <a:pt x="1439" y="1705"/>
                  </a:cubicBezTo>
                  <a:cubicBezTo>
                    <a:pt x="1096" y="1705"/>
                    <a:pt x="1096" y="1705"/>
                    <a:pt x="1096" y="1705"/>
                  </a:cubicBezTo>
                  <a:cubicBezTo>
                    <a:pt x="1114" y="1661"/>
                    <a:pt x="1127" y="1614"/>
                    <a:pt x="1133" y="1565"/>
                  </a:cubicBezTo>
                  <a:close/>
                  <a:moveTo>
                    <a:pt x="1111" y="1329"/>
                  </a:moveTo>
                  <a:cubicBezTo>
                    <a:pt x="1338" y="1329"/>
                    <a:pt x="1338" y="1329"/>
                    <a:pt x="1338" y="1329"/>
                  </a:cubicBezTo>
                  <a:cubicBezTo>
                    <a:pt x="1338" y="1468"/>
                    <a:pt x="1338" y="1468"/>
                    <a:pt x="1338" y="1468"/>
                  </a:cubicBezTo>
                  <a:cubicBezTo>
                    <a:pt x="1137" y="1468"/>
                    <a:pt x="1137" y="1468"/>
                    <a:pt x="1137" y="1468"/>
                  </a:cubicBezTo>
                  <a:cubicBezTo>
                    <a:pt x="1134" y="1419"/>
                    <a:pt x="1126" y="1373"/>
                    <a:pt x="1111" y="1329"/>
                  </a:cubicBezTo>
                  <a:close/>
                  <a:moveTo>
                    <a:pt x="1436" y="1468"/>
                  </a:moveTo>
                  <a:cubicBezTo>
                    <a:pt x="1436" y="1329"/>
                    <a:pt x="1436" y="1329"/>
                    <a:pt x="1436" y="1329"/>
                  </a:cubicBezTo>
                  <a:cubicBezTo>
                    <a:pt x="1561" y="1329"/>
                    <a:pt x="1561" y="1329"/>
                    <a:pt x="1561" y="1329"/>
                  </a:cubicBezTo>
                  <a:cubicBezTo>
                    <a:pt x="1561" y="1467"/>
                    <a:pt x="1561" y="1467"/>
                    <a:pt x="1561" y="1467"/>
                  </a:cubicBezTo>
                  <a:cubicBezTo>
                    <a:pt x="1439" y="1467"/>
                    <a:pt x="1439" y="1467"/>
                    <a:pt x="1439" y="1467"/>
                  </a:cubicBezTo>
                  <a:cubicBezTo>
                    <a:pt x="1439" y="1468"/>
                    <a:pt x="1439" y="1468"/>
                    <a:pt x="1439" y="1468"/>
                  </a:cubicBezTo>
                  <a:lnTo>
                    <a:pt x="1436" y="1468"/>
                  </a:lnTo>
                  <a:close/>
                  <a:moveTo>
                    <a:pt x="1546" y="1094"/>
                  </a:moveTo>
                  <a:cubicBezTo>
                    <a:pt x="1546" y="1231"/>
                    <a:pt x="1546" y="1231"/>
                    <a:pt x="1546" y="1231"/>
                  </a:cubicBezTo>
                  <a:cubicBezTo>
                    <a:pt x="1069" y="1231"/>
                    <a:pt x="1069" y="1231"/>
                    <a:pt x="1069" y="1231"/>
                  </a:cubicBezTo>
                  <a:cubicBezTo>
                    <a:pt x="1040" y="1180"/>
                    <a:pt x="1003" y="1133"/>
                    <a:pt x="960" y="1094"/>
                  </a:cubicBezTo>
                  <a:lnTo>
                    <a:pt x="1546" y="1094"/>
                  </a:lnTo>
                  <a:close/>
                  <a:moveTo>
                    <a:pt x="1436" y="857"/>
                  </a:moveTo>
                  <a:cubicBezTo>
                    <a:pt x="1458" y="857"/>
                    <a:pt x="1458" y="857"/>
                    <a:pt x="1458" y="857"/>
                  </a:cubicBezTo>
                  <a:cubicBezTo>
                    <a:pt x="1458" y="996"/>
                    <a:pt x="1458" y="996"/>
                    <a:pt x="1458" y="996"/>
                  </a:cubicBezTo>
                  <a:cubicBezTo>
                    <a:pt x="810" y="996"/>
                    <a:pt x="810" y="996"/>
                    <a:pt x="810" y="996"/>
                  </a:cubicBezTo>
                  <a:cubicBezTo>
                    <a:pt x="744" y="967"/>
                    <a:pt x="671" y="951"/>
                    <a:pt x="594" y="951"/>
                  </a:cubicBezTo>
                  <a:cubicBezTo>
                    <a:pt x="594" y="857"/>
                    <a:pt x="594" y="857"/>
                    <a:pt x="594" y="857"/>
                  </a:cubicBezTo>
                  <a:lnTo>
                    <a:pt x="1436" y="857"/>
                  </a:lnTo>
                  <a:close/>
                  <a:moveTo>
                    <a:pt x="497" y="759"/>
                  </a:moveTo>
                  <a:cubicBezTo>
                    <a:pt x="474" y="759"/>
                    <a:pt x="474" y="759"/>
                    <a:pt x="474" y="759"/>
                  </a:cubicBezTo>
                  <a:cubicBezTo>
                    <a:pt x="474" y="620"/>
                    <a:pt x="474" y="620"/>
                    <a:pt x="474" y="620"/>
                  </a:cubicBezTo>
                  <a:cubicBezTo>
                    <a:pt x="1338" y="620"/>
                    <a:pt x="1338" y="620"/>
                    <a:pt x="1338" y="620"/>
                  </a:cubicBezTo>
                  <a:cubicBezTo>
                    <a:pt x="1338" y="759"/>
                    <a:pt x="1338" y="759"/>
                    <a:pt x="1338" y="759"/>
                  </a:cubicBezTo>
                  <a:lnTo>
                    <a:pt x="497" y="759"/>
                  </a:lnTo>
                  <a:close/>
                  <a:moveTo>
                    <a:pt x="539" y="146"/>
                  </a:moveTo>
                  <a:cubicBezTo>
                    <a:pt x="1403" y="146"/>
                    <a:pt x="1403" y="146"/>
                    <a:pt x="1403" y="146"/>
                  </a:cubicBezTo>
                  <a:cubicBezTo>
                    <a:pt x="1403" y="285"/>
                    <a:pt x="1403" y="285"/>
                    <a:pt x="1403" y="285"/>
                  </a:cubicBezTo>
                  <a:cubicBezTo>
                    <a:pt x="1348" y="285"/>
                    <a:pt x="1348" y="285"/>
                    <a:pt x="1348" y="285"/>
                  </a:cubicBezTo>
                  <a:cubicBezTo>
                    <a:pt x="539" y="285"/>
                    <a:pt x="539" y="285"/>
                    <a:pt x="539" y="285"/>
                  </a:cubicBezTo>
                  <a:lnTo>
                    <a:pt x="539" y="146"/>
                  </a:lnTo>
                  <a:close/>
                  <a:moveTo>
                    <a:pt x="387" y="522"/>
                  </a:moveTo>
                  <a:cubicBezTo>
                    <a:pt x="387" y="383"/>
                    <a:pt x="387" y="383"/>
                    <a:pt x="387" y="383"/>
                  </a:cubicBezTo>
                  <a:cubicBezTo>
                    <a:pt x="442" y="383"/>
                    <a:pt x="442" y="383"/>
                    <a:pt x="442" y="383"/>
                  </a:cubicBezTo>
                  <a:cubicBezTo>
                    <a:pt x="1251" y="383"/>
                    <a:pt x="1251" y="383"/>
                    <a:pt x="1251" y="383"/>
                  </a:cubicBezTo>
                  <a:cubicBezTo>
                    <a:pt x="1251" y="522"/>
                    <a:pt x="1251" y="522"/>
                    <a:pt x="1251" y="522"/>
                  </a:cubicBezTo>
                  <a:lnTo>
                    <a:pt x="387" y="522"/>
                  </a:lnTo>
                  <a:close/>
                  <a:moveTo>
                    <a:pt x="146" y="1495"/>
                  </a:moveTo>
                  <a:cubicBezTo>
                    <a:pt x="146" y="1249"/>
                    <a:pt x="347" y="1049"/>
                    <a:pt x="593" y="1049"/>
                  </a:cubicBezTo>
                  <a:cubicBezTo>
                    <a:pt x="840" y="1049"/>
                    <a:pt x="1040" y="1249"/>
                    <a:pt x="1040" y="1495"/>
                  </a:cubicBezTo>
                  <a:cubicBezTo>
                    <a:pt x="1040" y="1742"/>
                    <a:pt x="840" y="1942"/>
                    <a:pt x="593" y="1942"/>
                  </a:cubicBezTo>
                  <a:cubicBezTo>
                    <a:pt x="347" y="1942"/>
                    <a:pt x="146" y="1742"/>
                    <a:pt x="146" y="1495"/>
                  </a:cubicBezTo>
                  <a:close/>
                  <a:moveTo>
                    <a:pt x="1506" y="1942"/>
                  </a:moveTo>
                  <a:cubicBezTo>
                    <a:pt x="904" y="1942"/>
                    <a:pt x="904" y="1942"/>
                    <a:pt x="904" y="1942"/>
                  </a:cubicBezTo>
                  <a:cubicBezTo>
                    <a:pt x="958" y="1905"/>
                    <a:pt x="1005" y="1857"/>
                    <a:pt x="1042" y="1803"/>
                  </a:cubicBezTo>
                  <a:cubicBezTo>
                    <a:pt x="1506" y="1803"/>
                    <a:pt x="1506" y="1803"/>
                    <a:pt x="1506" y="1803"/>
                  </a:cubicBezTo>
                  <a:lnTo>
                    <a:pt x="1506" y="1942"/>
                  </a:lnTo>
                  <a:close/>
                  <a:moveTo>
                    <a:pt x="1649" y="1704"/>
                  </a:moveTo>
                  <a:cubicBezTo>
                    <a:pt x="1536" y="1704"/>
                    <a:pt x="1536" y="1704"/>
                    <a:pt x="1536" y="1704"/>
                  </a:cubicBezTo>
                  <a:cubicBezTo>
                    <a:pt x="1536" y="1564"/>
                    <a:pt x="1536" y="1564"/>
                    <a:pt x="1536" y="1564"/>
                  </a:cubicBezTo>
                  <a:cubicBezTo>
                    <a:pt x="1561" y="1564"/>
                    <a:pt x="1561" y="1564"/>
                    <a:pt x="1561" y="1564"/>
                  </a:cubicBezTo>
                  <a:cubicBezTo>
                    <a:pt x="2400" y="1564"/>
                    <a:pt x="2400" y="1564"/>
                    <a:pt x="2400" y="1564"/>
                  </a:cubicBezTo>
                  <a:cubicBezTo>
                    <a:pt x="2400" y="1704"/>
                    <a:pt x="2400" y="1704"/>
                    <a:pt x="2400" y="1704"/>
                  </a:cubicBezTo>
                  <a:lnTo>
                    <a:pt x="1649" y="1704"/>
                  </a:lnTo>
                  <a:close/>
                  <a:moveTo>
                    <a:pt x="2610" y="1801"/>
                  </a:moveTo>
                  <a:cubicBezTo>
                    <a:pt x="2610" y="1941"/>
                    <a:pt x="2610" y="1941"/>
                    <a:pt x="2610" y="1941"/>
                  </a:cubicBezTo>
                  <a:cubicBezTo>
                    <a:pt x="1746" y="1941"/>
                    <a:pt x="1746" y="1941"/>
                    <a:pt x="1746" y="1941"/>
                  </a:cubicBezTo>
                  <a:cubicBezTo>
                    <a:pt x="1746" y="1801"/>
                    <a:pt x="1746" y="1801"/>
                    <a:pt x="1746" y="1801"/>
                  </a:cubicBezTo>
                  <a:cubicBezTo>
                    <a:pt x="2497" y="1801"/>
                    <a:pt x="2497" y="1801"/>
                    <a:pt x="2497" y="1801"/>
                  </a:cubicBezTo>
                  <a:lnTo>
                    <a:pt x="2610" y="1801"/>
                  </a:lnTo>
                  <a:close/>
                  <a:moveTo>
                    <a:pt x="2674" y="1230"/>
                  </a:moveTo>
                  <a:cubicBezTo>
                    <a:pt x="2619" y="1230"/>
                    <a:pt x="2619" y="1230"/>
                    <a:pt x="2619" y="1230"/>
                  </a:cubicBezTo>
                  <a:cubicBezTo>
                    <a:pt x="1810" y="1230"/>
                    <a:pt x="1810" y="1230"/>
                    <a:pt x="1810" y="1230"/>
                  </a:cubicBezTo>
                  <a:cubicBezTo>
                    <a:pt x="1810" y="1090"/>
                    <a:pt x="1810" y="1090"/>
                    <a:pt x="1810" y="1090"/>
                  </a:cubicBezTo>
                  <a:cubicBezTo>
                    <a:pt x="2674" y="1090"/>
                    <a:pt x="2674" y="1090"/>
                    <a:pt x="2674" y="1090"/>
                  </a:cubicBezTo>
                  <a:lnTo>
                    <a:pt x="2674" y="1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 dirty="0"/>
            </a:p>
          </p:txBody>
        </p:sp>
      </p:grpSp>
      <p:sp>
        <p:nvSpPr>
          <p:cNvPr id="57" name="TextBox 54"/>
          <p:cNvSpPr txBox="1">
            <a:spLocks noChangeArrowheads="1"/>
          </p:cNvSpPr>
          <p:nvPr/>
        </p:nvSpPr>
        <p:spPr bwMode="auto">
          <a:xfrm rot="1317784">
            <a:off x="2320186" y="5216885"/>
            <a:ext cx="1141659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Apoyo</a:t>
            </a:r>
            <a:endParaRPr lang="id-ID" b="1" dirty="0">
              <a:latin typeface="Raleway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607913" y="686312"/>
            <a:ext cx="2576346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altLang="es-CL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Problemática</a:t>
            </a:r>
            <a:endParaRPr lang="es-CL" sz="3200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60" name="Group 174"/>
          <p:cNvGrpSpPr/>
          <p:nvPr/>
        </p:nvGrpSpPr>
        <p:grpSpPr>
          <a:xfrm>
            <a:off x="4074187" y="3097418"/>
            <a:ext cx="338745" cy="320006"/>
            <a:chOff x="10121900" y="790575"/>
            <a:chExt cx="746125" cy="704851"/>
          </a:xfrm>
          <a:solidFill>
            <a:schemeClr val="accent1"/>
          </a:solidFill>
        </p:grpSpPr>
        <p:sp>
          <p:nvSpPr>
            <p:cNvPr id="61" name="Freeform 29"/>
            <p:cNvSpPr>
              <a:spLocks noEditPoints="1"/>
            </p:cNvSpPr>
            <p:nvPr/>
          </p:nvSpPr>
          <p:spPr bwMode="auto">
            <a:xfrm>
              <a:off x="10121900" y="947738"/>
              <a:ext cx="746125" cy="547688"/>
            </a:xfrm>
            <a:custGeom>
              <a:avLst/>
              <a:gdLst>
                <a:gd name="T0" fmla="*/ 167 w 196"/>
                <a:gd name="T1" fmla="*/ 35 h 144"/>
                <a:gd name="T2" fmla="*/ 153 w 196"/>
                <a:gd name="T3" fmla="*/ 34 h 144"/>
                <a:gd name="T4" fmla="*/ 136 w 196"/>
                <a:gd name="T5" fmla="*/ 28 h 144"/>
                <a:gd name="T6" fmla="*/ 172 w 196"/>
                <a:gd name="T7" fmla="*/ 28 h 144"/>
                <a:gd name="T8" fmla="*/ 167 w 196"/>
                <a:gd name="T9" fmla="*/ 18 h 144"/>
                <a:gd name="T10" fmla="*/ 167 w 196"/>
                <a:gd name="T11" fmla="*/ 11 h 144"/>
                <a:gd name="T12" fmla="*/ 151 w 196"/>
                <a:gd name="T13" fmla="*/ 8 h 144"/>
                <a:gd name="T14" fmla="*/ 136 w 196"/>
                <a:gd name="T15" fmla="*/ 6 h 144"/>
                <a:gd name="T16" fmla="*/ 122 w 196"/>
                <a:gd name="T17" fmla="*/ 7 h 144"/>
                <a:gd name="T18" fmla="*/ 113 w 196"/>
                <a:gd name="T19" fmla="*/ 10 h 144"/>
                <a:gd name="T20" fmla="*/ 105 w 196"/>
                <a:gd name="T21" fmla="*/ 6 h 144"/>
                <a:gd name="T22" fmla="*/ 105 w 196"/>
                <a:gd name="T23" fmla="*/ 0 h 144"/>
                <a:gd name="T24" fmla="*/ 43 w 196"/>
                <a:gd name="T25" fmla="*/ 0 h 144"/>
                <a:gd name="T26" fmla="*/ 0 w 196"/>
                <a:gd name="T27" fmla="*/ 71 h 144"/>
                <a:gd name="T28" fmla="*/ 108 w 196"/>
                <a:gd name="T29" fmla="*/ 132 h 144"/>
                <a:gd name="T30" fmla="*/ 170 w 196"/>
                <a:gd name="T31" fmla="*/ 126 h 144"/>
                <a:gd name="T32" fmla="*/ 167 w 196"/>
                <a:gd name="T33" fmla="*/ 37 h 144"/>
                <a:gd name="T34" fmla="*/ 76 w 196"/>
                <a:gd name="T35" fmla="*/ 109 h 144"/>
                <a:gd name="T36" fmla="*/ 64 w 196"/>
                <a:gd name="T37" fmla="*/ 110 h 144"/>
                <a:gd name="T38" fmla="*/ 37 w 196"/>
                <a:gd name="T39" fmla="*/ 79 h 144"/>
                <a:gd name="T40" fmla="*/ 53 w 196"/>
                <a:gd name="T41" fmla="*/ 76 h 144"/>
                <a:gd name="T42" fmla="*/ 67 w 196"/>
                <a:gd name="T43" fmla="*/ 84 h 144"/>
                <a:gd name="T44" fmla="*/ 54 w 196"/>
                <a:gd name="T45" fmla="*/ 67 h 144"/>
                <a:gd name="T46" fmla="*/ 59 w 196"/>
                <a:gd name="T47" fmla="*/ 30 h 144"/>
                <a:gd name="T48" fmla="*/ 60 w 196"/>
                <a:gd name="T49" fmla="*/ 22 h 144"/>
                <a:gd name="T50" fmla="*/ 73 w 196"/>
                <a:gd name="T51" fmla="*/ 29 h 144"/>
                <a:gd name="T52" fmla="*/ 95 w 196"/>
                <a:gd name="T53" fmla="*/ 52 h 144"/>
                <a:gd name="T54" fmla="*/ 70 w 196"/>
                <a:gd name="T55" fmla="*/ 48 h 144"/>
                <a:gd name="T56" fmla="*/ 82 w 196"/>
                <a:gd name="T57" fmla="*/ 62 h 144"/>
                <a:gd name="T58" fmla="*/ 76 w 196"/>
                <a:gd name="T59" fmla="*/ 102 h 144"/>
                <a:gd name="T60" fmla="*/ 145 w 196"/>
                <a:gd name="T61" fmla="*/ 108 h 144"/>
                <a:gd name="T62" fmla="*/ 137 w 196"/>
                <a:gd name="T63" fmla="*/ 110 h 144"/>
                <a:gd name="T64" fmla="*/ 118 w 196"/>
                <a:gd name="T65" fmla="*/ 87 h 144"/>
                <a:gd name="T66" fmla="*/ 129 w 196"/>
                <a:gd name="T67" fmla="*/ 85 h 144"/>
                <a:gd name="T68" fmla="*/ 139 w 196"/>
                <a:gd name="T69" fmla="*/ 91 h 144"/>
                <a:gd name="T70" fmla="*/ 129 w 196"/>
                <a:gd name="T71" fmla="*/ 79 h 144"/>
                <a:gd name="T72" fmla="*/ 133 w 196"/>
                <a:gd name="T73" fmla="*/ 53 h 144"/>
                <a:gd name="T74" fmla="*/ 134 w 196"/>
                <a:gd name="T75" fmla="*/ 47 h 144"/>
                <a:gd name="T76" fmla="*/ 143 w 196"/>
                <a:gd name="T77" fmla="*/ 52 h 144"/>
                <a:gd name="T78" fmla="*/ 158 w 196"/>
                <a:gd name="T79" fmla="*/ 68 h 144"/>
                <a:gd name="T80" fmla="*/ 141 w 196"/>
                <a:gd name="T81" fmla="*/ 65 h 144"/>
                <a:gd name="T82" fmla="*/ 150 w 196"/>
                <a:gd name="T83" fmla="*/ 75 h 144"/>
                <a:gd name="T84" fmla="*/ 145 w 196"/>
                <a:gd name="T85" fmla="*/ 10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" h="144">
                  <a:moveTo>
                    <a:pt x="167" y="37"/>
                  </a:moveTo>
                  <a:cubicBezTo>
                    <a:pt x="168" y="36"/>
                    <a:pt x="168" y="35"/>
                    <a:pt x="167" y="35"/>
                  </a:cubicBezTo>
                  <a:cubicBezTo>
                    <a:pt x="167" y="34"/>
                    <a:pt x="167" y="33"/>
                    <a:pt x="167" y="33"/>
                  </a:cubicBezTo>
                  <a:cubicBezTo>
                    <a:pt x="163" y="33"/>
                    <a:pt x="158" y="34"/>
                    <a:pt x="153" y="34"/>
                  </a:cubicBezTo>
                  <a:cubicBezTo>
                    <a:pt x="133" y="34"/>
                    <a:pt x="117" y="26"/>
                    <a:pt x="115" y="17"/>
                  </a:cubicBezTo>
                  <a:cubicBezTo>
                    <a:pt x="122" y="22"/>
                    <a:pt x="132" y="27"/>
                    <a:pt x="136" y="28"/>
                  </a:cubicBezTo>
                  <a:cubicBezTo>
                    <a:pt x="136" y="28"/>
                    <a:pt x="137" y="28"/>
                    <a:pt x="137" y="28"/>
                  </a:cubicBezTo>
                  <a:cubicBezTo>
                    <a:pt x="149" y="33"/>
                    <a:pt x="172" y="28"/>
                    <a:pt x="172" y="28"/>
                  </a:cubicBezTo>
                  <a:cubicBezTo>
                    <a:pt x="172" y="28"/>
                    <a:pt x="173" y="27"/>
                    <a:pt x="171" y="25"/>
                  </a:cubicBezTo>
                  <a:cubicBezTo>
                    <a:pt x="168" y="22"/>
                    <a:pt x="165" y="21"/>
                    <a:pt x="167" y="18"/>
                  </a:cubicBezTo>
                  <a:cubicBezTo>
                    <a:pt x="168" y="16"/>
                    <a:pt x="170" y="14"/>
                    <a:pt x="169" y="12"/>
                  </a:cubicBezTo>
                  <a:cubicBezTo>
                    <a:pt x="169" y="12"/>
                    <a:pt x="168" y="11"/>
                    <a:pt x="167" y="11"/>
                  </a:cubicBezTo>
                  <a:cubicBezTo>
                    <a:pt x="163" y="11"/>
                    <a:pt x="157" y="12"/>
                    <a:pt x="157" y="12"/>
                  </a:cubicBezTo>
                  <a:cubicBezTo>
                    <a:pt x="157" y="12"/>
                    <a:pt x="156" y="9"/>
                    <a:pt x="151" y="8"/>
                  </a:cubicBezTo>
                  <a:cubicBezTo>
                    <a:pt x="147" y="7"/>
                    <a:pt x="140" y="5"/>
                    <a:pt x="136" y="5"/>
                  </a:cubicBezTo>
                  <a:cubicBezTo>
                    <a:pt x="136" y="5"/>
                    <a:pt x="136" y="6"/>
                    <a:pt x="136" y="6"/>
                  </a:cubicBezTo>
                  <a:cubicBezTo>
                    <a:pt x="133" y="7"/>
                    <a:pt x="129" y="10"/>
                    <a:pt x="125" y="9"/>
                  </a:cubicBezTo>
                  <a:cubicBezTo>
                    <a:pt x="123" y="8"/>
                    <a:pt x="122" y="8"/>
                    <a:pt x="122" y="7"/>
                  </a:cubicBezTo>
                  <a:cubicBezTo>
                    <a:pt x="120" y="7"/>
                    <a:pt x="119" y="6"/>
                    <a:pt x="117" y="7"/>
                  </a:cubicBezTo>
                  <a:cubicBezTo>
                    <a:pt x="113" y="7"/>
                    <a:pt x="113" y="10"/>
                    <a:pt x="113" y="10"/>
                  </a:cubicBezTo>
                  <a:cubicBezTo>
                    <a:pt x="113" y="10"/>
                    <a:pt x="112" y="10"/>
                    <a:pt x="112" y="10"/>
                  </a:cubicBezTo>
                  <a:cubicBezTo>
                    <a:pt x="110" y="8"/>
                    <a:pt x="107" y="7"/>
                    <a:pt x="105" y="6"/>
                  </a:cubicBezTo>
                  <a:cubicBezTo>
                    <a:pt x="106" y="5"/>
                    <a:pt x="106" y="4"/>
                    <a:pt x="104" y="3"/>
                  </a:cubicBezTo>
                  <a:cubicBezTo>
                    <a:pt x="105" y="2"/>
                    <a:pt x="105" y="1"/>
                    <a:pt x="105" y="0"/>
                  </a:cubicBezTo>
                  <a:cubicBezTo>
                    <a:pt x="96" y="2"/>
                    <a:pt x="85" y="3"/>
                    <a:pt x="73" y="3"/>
                  </a:cubicBezTo>
                  <a:cubicBezTo>
                    <a:pt x="62" y="3"/>
                    <a:pt x="51" y="2"/>
                    <a:pt x="43" y="0"/>
                  </a:cubicBezTo>
                  <a:cubicBezTo>
                    <a:pt x="42" y="2"/>
                    <a:pt x="41" y="4"/>
                    <a:pt x="41" y="5"/>
                  </a:cubicBezTo>
                  <a:cubicBezTo>
                    <a:pt x="17" y="17"/>
                    <a:pt x="0" y="42"/>
                    <a:pt x="0" y="71"/>
                  </a:cubicBezTo>
                  <a:cubicBezTo>
                    <a:pt x="0" y="93"/>
                    <a:pt x="10" y="113"/>
                    <a:pt x="26" y="127"/>
                  </a:cubicBezTo>
                  <a:cubicBezTo>
                    <a:pt x="43" y="142"/>
                    <a:pt x="89" y="144"/>
                    <a:pt x="108" y="132"/>
                  </a:cubicBezTo>
                  <a:cubicBezTo>
                    <a:pt x="111" y="131"/>
                    <a:pt x="114" y="128"/>
                    <a:pt x="117" y="126"/>
                  </a:cubicBezTo>
                  <a:cubicBezTo>
                    <a:pt x="132" y="133"/>
                    <a:pt x="158" y="133"/>
                    <a:pt x="170" y="126"/>
                  </a:cubicBezTo>
                  <a:cubicBezTo>
                    <a:pt x="184" y="118"/>
                    <a:pt x="196" y="100"/>
                    <a:pt x="196" y="83"/>
                  </a:cubicBezTo>
                  <a:cubicBezTo>
                    <a:pt x="196" y="62"/>
                    <a:pt x="184" y="45"/>
                    <a:pt x="167" y="37"/>
                  </a:cubicBezTo>
                  <a:close/>
                  <a:moveTo>
                    <a:pt x="76" y="102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5" y="110"/>
                  </a:cubicBezTo>
                  <a:cubicBezTo>
                    <a:pt x="64" y="110"/>
                    <a:pt x="64" y="110"/>
                    <a:pt x="64" y="110"/>
                  </a:cubicBezTo>
                  <a:cubicBezTo>
                    <a:pt x="63" y="110"/>
                    <a:pt x="63" y="109"/>
                    <a:pt x="63" y="102"/>
                  </a:cubicBezTo>
                  <a:cubicBezTo>
                    <a:pt x="47" y="101"/>
                    <a:pt x="38" y="93"/>
                    <a:pt x="37" y="79"/>
                  </a:cubicBezTo>
                  <a:cubicBezTo>
                    <a:pt x="37" y="78"/>
                    <a:pt x="38" y="78"/>
                    <a:pt x="38" y="78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4" y="76"/>
                    <a:pt x="54" y="76"/>
                    <a:pt x="55" y="77"/>
                  </a:cubicBezTo>
                  <a:cubicBezTo>
                    <a:pt x="56" y="84"/>
                    <a:pt x="63" y="84"/>
                    <a:pt x="67" y="84"/>
                  </a:cubicBezTo>
                  <a:cubicBezTo>
                    <a:pt x="69" y="83"/>
                    <a:pt x="70" y="82"/>
                    <a:pt x="70" y="81"/>
                  </a:cubicBezTo>
                  <a:cubicBezTo>
                    <a:pt x="71" y="77"/>
                    <a:pt x="68" y="73"/>
                    <a:pt x="54" y="67"/>
                  </a:cubicBezTo>
                  <a:cubicBezTo>
                    <a:pt x="44" y="62"/>
                    <a:pt x="39" y="60"/>
                    <a:pt x="39" y="52"/>
                  </a:cubicBezTo>
                  <a:cubicBezTo>
                    <a:pt x="38" y="43"/>
                    <a:pt x="45" y="33"/>
                    <a:pt x="59" y="30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0" y="22"/>
                    <a:pt x="6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3" y="29"/>
                  </a:cubicBezTo>
                  <a:cubicBezTo>
                    <a:pt x="87" y="31"/>
                    <a:pt x="96" y="40"/>
                    <a:pt x="96" y="50"/>
                  </a:cubicBezTo>
                  <a:cubicBezTo>
                    <a:pt x="96" y="51"/>
                    <a:pt x="96" y="51"/>
                    <a:pt x="95" y="52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8" y="47"/>
                    <a:pt x="70" y="48"/>
                  </a:cubicBezTo>
                  <a:cubicBezTo>
                    <a:pt x="67" y="48"/>
                    <a:pt x="67" y="50"/>
                    <a:pt x="67" y="51"/>
                  </a:cubicBezTo>
                  <a:cubicBezTo>
                    <a:pt x="67" y="55"/>
                    <a:pt x="72" y="57"/>
                    <a:pt x="82" y="62"/>
                  </a:cubicBezTo>
                  <a:cubicBezTo>
                    <a:pt x="92" y="67"/>
                    <a:pt x="97" y="71"/>
                    <a:pt x="98" y="79"/>
                  </a:cubicBezTo>
                  <a:cubicBezTo>
                    <a:pt x="98" y="90"/>
                    <a:pt x="90" y="99"/>
                    <a:pt x="76" y="102"/>
                  </a:cubicBezTo>
                  <a:close/>
                  <a:moveTo>
                    <a:pt x="145" y="104"/>
                  </a:moveTo>
                  <a:cubicBezTo>
                    <a:pt x="145" y="108"/>
                    <a:pt x="145" y="108"/>
                    <a:pt x="145" y="108"/>
                  </a:cubicBezTo>
                  <a:cubicBezTo>
                    <a:pt x="145" y="109"/>
                    <a:pt x="145" y="109"/>
                    <a:pt x="145" y="109"/>
                  </a:cubicBezTo>
                  <a:cubicBezTo>
                    <a:pt x="137" y="110"/>
                    <a:pt x="137" y="110"/>
                    <a:pt x="137" y="110"/>
                  </a:cubicBezTo>
                  <a:cubicBezTo>
                    <a:pt x="136" y="110"/>
                    <a:pt x="136" y="109"/>
                    <a:pt x="136" y="104"/>
                  </a:cubicBezTo>
                  <a:cubicBezTo>
                    <a:pt x="124" y="103"/>
                    <a:pt x="118" y="97"/>
                    <a:pt x="118" y="87"/>
                  </a:cubicBezTo>
                  <a:cubicBezTo>
                    <a:pt x="118" y="87"/>
                    <a:pt x="118" y="87"/>
                    <a:pt x="119" y="87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30" y="85"/>
                    <a:pt x="130" y="86"/>
                    <a:pt x="130" y="86"/>
                  </a:cubicBezTo>
                  <a:cubicBezTo>
                    <a:pt x="131" y="91"/>
                    <a:pt x="136" y="91"/>
                    <a:pt x="139" y="91"/>
                  </a:cubicBezTo>
                  <a:cubicBezTo>
                    <a:pt x="140" y="90"/>
                    <a:pt x="141" y="90"/>
                    <a:pt x="141" y="89"/>
                  </a:cubicBezTo>
                  <a:cubicBezTo>
                    <a:pt x="142" y="86"/>
                    <a:pt x="140" y="83"/>
                    <a:pt x="129" y="79"/>
                  </a:cubicBezTo>
                  <a:cubicBezTo>
                    <a:pt x="123" y="76"/>
                    <a:pt x="119" y="74"/>
                    <a:pt x="119" y="68"/>
                  </a:cubicBezTo>
                  <a:cubicBezTo>
                    <a:pt x="118" y="62"/>
                    <a:pt x="124" y="55"/>
                    <a:pt x="133" y="53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4" y="47"/>
                    <a:pt x="134" y="47"/>
                  </a:cubicBezTo>
                  <a:cubicBezTo>
                    <a:pt x="142" y="47"/>
                    <a:pt x="142" y="47"/>
                    <a:pt x="142" y="47"/>
                  </a:cubicBezTo>
                  <a:cubicBezTo>
                    <a:pt x="143" y="47"/>
                    <a:pt x="143" y="47"/>
                    <a:pt x="143" y="52"/>
                  </a:cubicBezTo>
                  <a:cubicBezTo>
                    <a:pt x="153" y="53"/>
                    <a:pt x="159" y="60"/>
                    <a:pt x="160" y="67"/>
                  </a:cubicBezTo>
                  <a:cubicBezTo>
                    <a:pt x="160" y="68"/>
                    <a:pt x="159" y="68"/>
                    <a:pt x="158" y="68"/>
                  </a:cubicBezTo>
                  <a:cubicBezTo>
                    <a:pt x="147" y="69"/>
                    <a:pt x="147" y="69"/>
                    <a:pt x="147" y="69"/>
                  </a:cubicBezTo>
                  <a:cubicBezTo>
                    <a:pt x="147" y="69"/>
                    <a:pt x="147" y="65"/>
                    <a:pt x="141" y="65"/>
                  </a:cubicBezTo>
                  <a:cubicBezTo>
                    <a:pt x="139" y="66"/>
                    <a:pt x="139" y="67"/>
                    <a:pt x="139" y="68"/>
                  </a:cubicBezTo>
                  <a:cubicBezTo>
                    <a:pt x="139" y="70"/>
                    <a:pt x="142" y="72"/>
                    <a:pt x="150" y="75"/>
                  </a:cubicBezTo>
                  <a:cubicBezTo>
                    <a:pt x="157" y="79"/>
                    <a:pt x="160" y="82"/>
                    <a:pt x="161" y="87"/>
                  </a:cubicBezTo>
                  <a:cubicBezTo>
                    <a:pt x="161" y="96"/>
                    <a:pt x="155" y="102"/>
                    <a:pt x="145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2" name="Freeform 30"/>
            <p:cNvSpPr>
              <a:spLocks/>
            </p:cNvSpPr>
            <p:nvPr/>
          </p:nvSpPr>
          <p:spPr bwMode="auto">
            <a:xfrm>
              <a:off x="10198100" y="790575"/>
              <a:ext cx="406400" cy="152400"/>
            </a:xfrm>
            <a:custGeom>
              <a:avLst/>
              <a:gdLst>
                <a:gd name="T0" fmla="*/ 26 w 107"/>
                <a:gd name="T1" fmla="*/ 38 h 40"/>
                <a:gd name="T2" fmla="*/ 50 w 107"/>
                <a:gd name="T3" fmla="*/ 40 h 40"/>
                <a:gd name="T4" fmla="*/ 84 w 107"/>
                <a:gd name="T5" fmla="*/ 37 h 40"/>
                <a:gd name="T6" fmla="*/ 107 w 107"/>
                <a:gd name="T7" fmla="*/ 25 h 40"/>
                <a:gd name="T8" fmla="*/ 102 w 107"/>
                <a:gd name="T9" fmla="*/ 20 h 40"/>
                <a:gd name="T10" fmla="*/ 93 w 107"/>
                <a:gd name="T11" fmla="*/ 12 h 40"/>
                <a:gd name="T12" fmla="*/ 95 w 107"/>
                <a:gd name="T13" fmla="*/ 1 h 40"/>
                <a:gd name="T14" fmla="*/ 91 w 107"/>
                <a:gd name="T15" fmla="*/ 1 h 40"/>
                <a:gd name="T16" fmla="*/ 75 w 107"/>
                <a:gd name="T17" fmla="*/ 7 h 40"/>
                <a:gd name="T18" fmla="*/ 64 w 107"/>
                <a:gd name="T19" fmla="*/ 3 h 40"/>
                <a:gd name="T20" fmla="*/ 40 w 107"/>
                <a:gd name="T21" fmla="*/ 5 h 40"/>
                <a:gd name="T22" fmla="*/ 39 w 107"/>
                <a:gd name="T23" fmla="*/ 6 h 40"/>
                <a:gd name="T24" fmla="*/ 23 w 107"/>
                <a:gd name="T25" fmla="*/ 16 h 40"/>
                <a:gd name="T26" fmla="*/ 17 w 107"/>
                <a:gd name="T27" fmla="*/ 15 h 40"/>
                <a:gd name="T28" fmla="*/ 10 w 107"/>
                <a:gd name="T29" fmla="*/ 16 h 40"/>
                <a:gd name="T30" fmla="*/ 5 w 107"/>
                <a:gd name="T31" fmla="*/ 23 h 40"/>
                <a:gd name="T32" fmla="*/ 0 w 107"/>
                <a:gd name="T33" fmla="*/ 28 h 40"/>
                <a:gd name="T34" fmla="*/ 27 w 107"/>
                <a:gd name="T35" fmla="*/ 38 h 40"/>
                <a:gd name="T36" fmla="*/ 26 w 107"/>
                <a:gd name="T3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40">
                  <a:moveTo>
                    <a:pt x="26" y="38"/>
                  </a:moveTo>
                  <a:cubicBezTo>
                    <a:pt x="33" y="40"/>
                    <a:pt x="42" y="40"/>
                    <a:pt x="50" y="40"/>
                  </a:cubicBezTo>
                  <a:cubicBezTo>
                    <a:pt x="63" y="40"/>
                    <a:pt x="74" y="39"/>
                    <a:pt x="84" y="37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2"/>
                    <a:pt x="102" y="20"/>
                  </a:cubicBezTo>
                  <a:cubicBezTo>
                    <a:pt x="98" y="17"/>
                    <a:pt x="92" y="16"/>
                    <a:pt x="93" y="12"/>
                  </a:cubicBezTo>
                  <a:cubicBezTo>
                    <a:pt x="94" y="8"/>
                    <a:pt x="96" y="3"/>
                    <a:pt x="95" y="1"/>
                  </a:cubicBezTo>
                  <a:cubicBezTo>
                    <a:pt x="94" y="0"/>
                    <a:pt x="93" y="0"/>
                    <a:pt x="91" y="1"/>
                  </a:cubicBezTo>
                  <a:cubicBezTo>
                    <a:pt x="84" y="2"/>
                    <a:pt x="75" y="7"/>
                    <a:pt x="75" y="7"/>
                  </a:cubicBezTo>
                  <a:cubicBezTo>
                    <a:pt x="75" y="7"/>
                    <a:pt x="73" y="3"/>
                    <a:pt x="64" y="3"/>
                  </a:cubicBezTo>
                  <a:cubicBezTo>
                    <a:pt x="57" y="3"/>
                    <a:pt x="45" y="3"/>
                    <a:pt x="40" y="5"/>
                  </a:cubicBezTo>
                  <a:cubicBezTo>
                    <a:pt x="39" y="5"/>
                    <a:pt x="39" y="6"/>
                    <a:pt x="39" y="6"/>
                  </a:cubicBezTo>
                  <a:cubicBezTo>
                    <a:pt x="36" y="8"/>
                    <a:pt x="30" y="16"/>
                    <a:pt x="23" y="16"/>
                  </a:cubicBezTo>
                  <a:cubicBezTo>
                    <a:pt x="21" y="16"/>
                    <a:pt x="19" y="15"/>
                    <a:pt x="17" y="15"/>
                  </a:cubicBezTo>
                  <a:cubicBezTo>
                    <a:pt x="15" y="14"/>
                    <a:pt x="14" y="14"/>
                    <a:pt x="10" y="16"/>
                  </a:cubicBezTo>
                  <a:cubicBezTo>
                    <a:pt x="5" y="19"/>
                    <a:pt x="5" y="23"/>
                    <a:pt x="5" y="23"/>
                  </a:cubicBezTo>
                  <a:cubicBezTo>
                    <a:pt x="5" y="23"/>
                    <a:pt x="0" y="22"/>
                    <a:pt x="0" y="28"/>
                  </a:cubicBezTo>
                  <a:cubicBezTo>
                    <a:pt x="15" y="35"/>
                    <a:pt x="27" y="38"/>
                    <a:pt x="27" y="38"/>
                  </a:cubicBezTo>
                  <a:cubicBezTo>
                    <a:pt x="27" y="38"/>
                    <a:pt x="26" y="38"/>
                    <a:pt x="2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65" name="Rectangle 95"/>
          <p:cNvSpPr/>
          <p:nvPr/>
        </p:nvSpPr>
        <p:spPr>
          <a:xfrm>
            <a:off x="7614682" y="4673022"/>
            <a:ext cx="4106163" cy="1172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300" dirty="0">
                <a:solidFill>
                  <a:schemeClr val="bg1"/>
                </a:solidFill>
              </a:rPr>
              <a:t>"Implementar una automatización que realice pruebas de ciberseguridad durante el desarrollo podría ahorrar más de 1000 UF al año, reduciendo costos, mejorando la eficiencia, acelerando el TTM e integrando la ciberseguridad desde el inicio con un enfoque ‘Shift Left'."</a:t>
            </a:r>
            <a:endParaRPr lang="id-ID" sz="1300" dirty="0">
              <a:solidFill>
                <a:schemeClr val="bg1"/>
              </a:solidFill>
            </a:endParaRPr>
          </a:p>
        </p:txBody>
      </p:sp>
      <p:sp>
        <p:nvSpPr>
          <p:cNvPr id="71" name="Content Placeholder 19"/>
          <p:cNvSpPr txBox="1">
            <a:spLocks/>
          </p:cNvSpPr>
          <p:nvPr/>
        </p:nvSpPr>
        <p:spPr>
          <a:xfrm>
            <a:off x="9527705" y="6599968"/>
            <a:ext cx="3419758" cy="243608"/>
          </a:xfrm>
          <a:prstGeom prst="rect">
            <a:avLst/>
          </a:prstGeom>
        </p:spPr>
        <p:txBody>
          <a:bodyPr lIns="68580" tIns="34290" rIns="68580" bIns="3429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lang="es-MX" sz="800" dirty="0">
                <a:solidFill>
                  <a:schemeClr val="bg1">
                    <a:lumMod val="65000"/>
                  </a:schemeClr>
                </a:solidFill>
              </a:rPr>
              <a:t>(*) Costos obtenidos desde marzo a agosto del 2024 </a:t>
            </a:r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3" name="Group 444"/>
          <p:cNvGrpSpPr/>
          <p:nvPr/>
        </p:nvGrpSpPr>
        <p:grpSpPr>
          <a:xfrm>
            <a:off x="4136732" y="3904916"/>
            <a:ext cx="247650" cy="360760"/>
            <a:chOff x="7902575" y="3140075"/>
            <a:chExt cx="330200" cy="481013"/>
          </a:xfrm>
          <a:solidFill>
            <a:schemeClr val="tx1">
              <a:lumMod val="50000"/>
            </a:schemeClr>
          </a:solidFill>
        </p:grpSpPr>
        <p:sp>
          <p:nvSpPr>
            <p:cNvPr id="74" name="Oval 339"/>
            <p:cNvSpPr>
              <a:spLocks noChangeArrowheads="1"/>
            </p:cNvSpPr>
            <p:nvPr/>
          </p:nvSpPr>
          <p:spPr bwMode="auto">
            <a:xfrm>
              <a:off x="8037513" y="3275013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8" name="Oval 340"/>
            <p:cNvSpPr>
              <a:spLocks noChangeArrowheads="1"/>
            </p:cNvSpPr>
            <p:nvPr/>
          </p:nvSpPr>
          <p:spPr bwMode="auto">
            <a:xfrm>
              <a:off x="8037513" y="34544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0" name="Oval 341"/>
            <p:cNvSpPr>
              <a:spLocks noChangeArrowheads="1"/>
            </p:cNvSpPr>
            <p:nvPr/>
          </p:nvSpPr>
          <p:spPr bwMode="auto">
            <a:xfrm>
              <a:off x="7947025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1" name="Oval 342"/>
            <p:cNvSpPr>
              <a:spLocks noChangeArrowheads="1"/>
            </p:cNvSpPr>
            <p:nvPr/>
          </p:nvSpPr>
          <p:spPr bwMode="auto">
            <a:xfrm>
              <a:off x="8128000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2" name="Freeform 343"/>
            <p:cNvSpPr>
              <a:spLocks/>
            </p:cNvSpPr>
            <p:nvPr/>
          </p:nvSpPr>
          <p:spPr bwMode="auto">
            <a:xfrm>
              <a:off x="7974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4" name="Freeform 344"/>
            <p:cNvSpPr>
              <a:spLocks/>
            </p:cNvSpPr>
            <p:nvPr/>
          </p:nvSpPr>
          <p:spPr bwMode="auto">
            <a:xfrm>
              <a:off x="7974013" y="3300413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5" name="Freeform 345"/>
            <p:cNvSpPr>
              <a:spLocks/>
            </p:cNvSpPr>
            <p:nvPr/>
          </p:nvSpPr>
          <p:spPr bwMode="auto">
            <a:xfrm>
              <a:off x="8101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6" name="Freeform 346"/>
            <p:cNvSpPr>
              <a:spLocks noEditPoints="1"/>
            </p:cNvSpPr>
            <p:nvPr/>
          </p:nvSpPr>
          <p:spPr bwMode="auto">
            <a:xfrm>
              <a:off x="7902575" y="3140075"/>
              <a:ext cx="330200" cy="481013"/>
            </a:xfrm>
            <a:custGeom>
              <a:avLst/>
              <a:gdLst>
                <a:gd name="T0" fmla="*/ 80 w 88"/>
                <a:gd name="T1" fmla="*/ 56 h 128"/>
                <a:gd name="T2" fmla="*/ 79 w 88"/>
                <a:gd name="T3" fmla="*/ 56 h 128"/>
                <a:gd name="T4" fmla="*/ 70 w 88"/>
                <a:gd name="T5" fmla="*/ 38 h 128"/>
                <a:gd name="T6" fmla="*/ 64 w 88"/>
                <a:gd name="T7" fmla="*/ 7 h 128"/>
                <a:gd name="T8" fmla="*/ 56 w 88"/>
                <a:gd name="T9" fmla="*/ 0 h 128"/>
                <a:gd name="T10" fmla="*/ 24 w 88"/>
                <a:gd name="T11" fmla="*/ 0 h 128"/>
                <a:gd name="T12" fmla="*/ 17 w 88"/>
                <a:gd name="T13" fmla="*/ 7 h 128"/>
                <a:gd name="T14" fmla="*/ 11 w 88"/>
                <a:gd name="T15" fmla="*/ 37 h 128"/>
                <a:gd name="T16" fmla="*/ 0 w 88"/>
                <a:gd name="T17" fmla="*/ 64 h 128"/>
                <a:gd name="T18" fmla="*/ 10 w 88"/>
                <a:gd name="T19" fmla="*/ 91 h 128"/>
                <a:gd name="T20" fmla="*/ 16 w 88"/>
                <a:gd name="T21" fmla="*/ 121 h 128"/>
                <a:gd name="T22" fmla="*/ 24 w 88"/>
                <a:gd name="T23" fmla="*/ 128 h 128"/>
                <a:gd name="T24" fmla="*/ 56 w 88"/>
                <a:gd name="T25" fmla="*/ 128 h 128"/>
                <a:gd name="T26" fmla="*/ 64 w 88"/>
                <a:gd name="T27" fmla="*/ 121 h 128"/>
                <a:gd name="T28" fmla="*/ 70 w 88"/>
                <a:gd name="T29" fmla="*/ 91 h 128"/>
                <a:gd name="T30" fmla="*/ 79 w 88"/>
                <a:gd name="T31" fmla="*/ 72 h 128"/>
                <a:gd name="T32" fmla="*/ 80 w 88"/>
                <a:gd name="T33" fmla="*/ 72 h 128"/>
                <a:gd name="T34" fmla="*/ 88 w 88"/>
                <a:gd name="T35" fmla="*/ 64 h 128"/>
                <a:gd name="T36" fmla="*/ 80 w 88"/>
                <a:gd name="T37" fmla="*/ 56 h 128"/>
                <a:gd name="T38" fmla="*/ 24 w 88"/>
                <a:gd name="T39" fmla="*/ 8 h 128"/>
                <a:gd name="T40" fmla="*/ 56 w 88"/>
                <a:gd name="T41" fmla="*/ 8 h 128"/>
                <a:gd name="T42" fmla="*/ 60 w 88"/>
                <a:gd name="T43" fmla="*/ 30 h 128"/>
                <a:gd name="T44" fmla="*/ 40 w 88"/>
                <a:gd name="T45" fmla="*/ 24 h 128"/>
                <a:gd name="T46" fmla="*/ 20 w 88"/>
                <a:gd name="T47" fmla="*/ 30 h 128"/>
                <a:gd name="T48" fmla="*/ 24 w 88"/>
                <a:gd name="T49" fmla="*/ 8 h 128"/>
                <a:gd name="T50" fmla="*/ 56 w 88"/>
                <a:gd name="T51" fmla="*/ 120 h 128"/>
                <a:gd name="T52" fmla="*/ 24 w 88"/>
                <a:gd name="T53" fmla="*/ 120 h 128"/>
                <a:gd name="T54" fmla="*/ 20 w 88"/>
                <a:gd name="T55" fmla="*/ 98 h 128"/>
                <a:gd name="T56" fmla="*/ 40 w 88"/>
                <a:gd name="T57" fmla="*/ 104 h 128"/>
                <a:gd name="T58" fmla="*/ 60 w 88"/>
                <a:gd name="T59" fmla="*/ 98 h 128"/>
                <a:gd name="T60" fmla="*/ 56 w 88"/>
                <a:gd name="T61" fmla="*/ 120 h 128"/>
                <a:gd name="T62" fmla="*/ 40 w 88"/>
                <a:gd name="T63" fmla="*/ 96 h 128"/>
                <a:gd name="T64" fmla="*/ 8 w 88"/>
                <a:gd name="T65" fmla="*/ 64 h 128"/>
                <a:gd name="T66" fmla="*/ 40 w 88"/>
                <a:gd name="T67" fmla="*/ 32 h 128"/>
                <a:gd name="T68" fmla="*/ 72 w 88"/>
                <a:gd name="T69" fmla="*/ 64 h 128"/>
                <a:gd name="T70" fmla="*/ 40 w 88"/>
                <a:gd name="T71" fmla="*/ 9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8" h="128">
                  <a:moveTo>
                    <a:pt x="80" y="56"/>
                  </a:moveTo>
                  <a:cubicBezTo>
                    <a:pt x="80" y="56"/>
                    <a:pt x="79" y="56"/>
                    <a:pt x="79" y="56"/>
                  </a:cubicBezTo>
                  <a:cubicBezTo>
                    <a:pt x="78" y="49"/>
                    <a:pt x="75" y="43"/>
                    <a:pt x="70" y="3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3"/>
                    <a:pt x="60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17" y="3"/>
                    <a:pt x="17" y="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4" y="44"/>
                    <a:pt x="0" y="53"/>
                    <a:pt x="0" y="64"/>
                  </a:cubicBezTo>
                  <a:cubicBezTo>
                    <a:pt x="0" y="74"/>
                    <a:pt x="4" y="84"/>
                    <a:pt x="10" y="91"/>
                  </a:cubicBezTo>
                  <a:cubicBezTo>
                    <a:pt x="16" y="121"/>
                    <a:pt x="16" y="121"/>
                    <a:pt x="16" y="121"/>
                  </a:cubicBezTo>
                  <a:cubicBezTo>
                    <a:pt x="17" y="125"/>
                    <a:pt x="20" y="128"/>
                    <a:pt x="24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0" y="128"/>
                    <a:pt x="63" y="125"/>
                    <a:pt x="64" y="12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4" y="85"/>
                    <a:pt x="78" y="79"/>
                    <a:pt x="79" y="72"/>
                  </a:cubicBezTo>
                  <a:cubicBezTo>
                    <a:pt x="79" y="72"/>
                    <a:pt x="80" y="72"/>
                    <a:pt x="80" y="72"/>
                  </a:cubicBezTo>
                  <a:cubicBezTo>
                    <a:pt x="84" y="72"/>
                    <a:pt x="88" y="68"/>
                    <a:pt x="88" y="64"/>
                  </a:cubicBezTo>
                  <a:cubicBezTo>
                    <a:pt x="88" y="60"/>
                    <a:pt x="84" y="56"/>
                    <a:pt x="80" y="56"/>
                  </a:cubicBezTo>
                  <a:close/>
                  <a:moveTo>
                    <a:pt x="24" y="8"/>
                  </a:moveTo>
                  <a:cubicBezTo>
                    <a:pt x="56" y="8"/>
                    <a:pt x="56" y="8"/>
                    <a:pt x="56" y="8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26"/>
                    <a:pt x="48" y="24"/>
                    <a:pt x="40" y="24"/>
                  </a:cubicBezTo>
                  <a:cubicBezTo>
                    <a:pt x="33" y="24"/>
                    <a:pt x="26" y="26"/>
                    <a:pt x="20" y="30"/>
                  </a:cubicBezTo>
                  <a:lnTo>
                    <a:pt x="24" y="8"/>
                  </a:lnTo>
                  <a:close/>
                  <a:moveTo>
                    <a:pt x="56" y="120"/>
                  </a:moveTo>
                  <a:cubicBezTo>
                    <a:pt x="24" y="120"/>
                    <a:pt x="24" y="120"/>
                    <a:pt x="24" y="120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6" y="102"/>
                    <a:pt x="33" y="104"/>
                    <a:pt x="40" y="104"/>
                  </a:cubicBezTo>
                  <a:cubicBezTo>
                    <a:pt x="47" y="104"/>
                    <a:pt x="54" y="102"/>
                    <a:pt x="60" y="98"/>
                  </a:cubicBezTo>
                  <a:lnTo>
                    <a:pt x="56" y="120"/>
                  </a:lnTo>
                  <a:close/>
                  <a:moveTo>
                    <a:pt x="40" y="96"/>
                  </a:moveTo>
                  <a:cubicBezTo>
                    <a:pt x="22" y="96"/>
                    <a:pt x="8" y="82"/>
                    <a:pt x="8" y="64"/>
                  </a:cubicBezTo>
                  <a:cubicBezTo>
                    <a:pt x="8" y="46"/>
                    <a:pt x="22" y="32"/>
                    <a:pt x="40" y="32"/>
                  </a:cubicBezTo>
                  <a:cubicBezTo>
                    <a:pt x="58" y="32"/>
                    <a:pt x="72" y="46"/>
                    <a:pt x="72" y="64"/>
                  </a:cubicBezTo>
                  <a:cubicBezTo>
                    <a:pt x="72" y="82"/>
                    <a:pt x="58" y="96"/>
                    <a:pt x="4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7" name="Freeform 347"/>
            <p:cNvSpPr>
              <a:spLocks/>
            </p:cNvSpPr>
            <p:nvPr/>
          </p:nvSpPr>
          <p:spPr bwMode="auto">
            <a:xfrm>
              <a:off x="8037513" y="3305175"/>
              <a:ext cx="90488" cy="90488"/>
            </a:xfrm>
            <a:custGeom>
              <a:avLst/>
              <a:gdLst>
                <a:gd name="T0" fmla="*/ 24 w 24"/>
                <a:gd name="T1" fmla="*/ 0 h 24"/>
                <a:gd name="T2" fmla="*/ 22 w 24"/>
                <a:gd name="T3" fmla="*/ 0 h 24"/>
                <a:gd name="T4" fmla="*/ 1 w 24"/>
                <a:gd name="T5" fmla="*/ 17 h 24"/>
                <a:gd name="T6" fmla="*/ 0 w 24"/>
                <a:gd name="T7" fmla="*/ 20 h 24"/>
                <a:gd name="T8" fmla="*/ 1 w 24"/>
                <a:gd name="T9" fmla="*/ 23 h 24"/>
                <a:gd name="T10" fmla="*/ 4 w 24"/>
                <a:gd name="T11" fmla="*/ 24 h 24"/>
                <a:gd name="T12" fmla="*/ 7 w 24"/>
                <a:gd name="T13" fmla="*/ 23 h 24"/>
                <a:gd name="T14" fmla="*/ 14 w 24"/>
                <a:gd name="T15" fmla="*/ 14 h 24"/>
                <a:gd name="T16" fmla="*/ 24 w 24"/>
                <a:gd name="T17" fmla="*/ 2 h 24"/>
                <a:gd name="T18" fmla="*/ 24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24" y="0"/>
                  </a:moveTo>
                  <a:cubicBezTo>
                    <a:pt x="23" y="0"/>
                    <a:pt x="23" y="0"/>
                    <a:pt x="22" y="0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5" y="24"/>
                    <a:pt x="6" y="24"/>
                    <a:pt x="7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4" y="1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BA4D9127-FDF8-E895-D024-E4094BED3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8893" y="23747"/>
            <a:ext cx="943107" cy="9526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9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10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/>
      <p:bldP spid="56" grpId="0"/>
      <p:bldP spid="36" grpId="0"/>
      <p:bldP spid="37" grpId="0"/>
      <p:bldP spid="40" grpId="0"/>
      <p:bldP spid="41" grpId="0"/>
      <p:bldP spid="44" grpId="0"/>
      <p:bldP spid="45" grpId="0"/>
      <p:bldP spid="67" grpId="0"/>
      <p:bldP spid="68" grpId="0"/>
      <p:bldP spid="95" grpId="0"/>
      <p:bldP spid="57" grpId="0"/>
      <p:bldP spid="65" grpId="0"/>
      <p:bldP spid="7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4408488" y="6317239"/>
            <a:ext cx="3572756" cy="156571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6850" name="Slide Number Placeholder 1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822F000E-FB8E-5C4C-86A8-3811F7919BCE}" type="slidenum">
              <a:rPr lang="id-ID">
                <a:solidFill>
                  <a:schemeClr val="bg1"/>
                </a:solidFill>
              </a:rPr>
              <a:pPr/>
              <a:t>6</a:t>
            </a:fld>
            <a:endParaRPr lang="id-ID">
              <a:solidFill>
                <a:schemeClr val="bg1"/>
              </a:solidFill>
            </a:endParaRPr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6100763" y="1593850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400"/>
          </a:p>
        </p:txBody>
      </p:sp>
      <p:grpSp>
        <p:nvGrpSpPr>
          <p:cNvPr id="21" name="Group 20"/>
          <p:cNvGrpSpPr/>
          <p:nvPr/>
        </p:nvGrpSpPr>
        <p:grpSpPr>
          <a:xfrm>
            <a:off x="6058567" y="2409259"/>
            <a:ext cx="410645" cy="732399"/>
            <a:chOff x="5835743" y="1477823"/>
            <a:chExt cx="616146" cy="1098916"/>
          </a:xfrm>
          <a:solidFill>
            <a:schemeClr val="accent1"/>
          </a:solidFill>
        </p:grpSpPr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5840092" y="1502469"/>
              <a:ext cx="12032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898082" y="1477823"/>
              <a:ext cx="553807" cy="1098916"/>
            </a:xfrm>
            <a:custGeom>
              <a:avLst/>
              <a:gdLst>
                <a:gd name="T0" fmla="*/ 0 w 160"/>
                <a:gd name="T1" fmla="*/ 0 h 320"/>
                <a:gd name="T2" fmla="*/ 25 w 160"/>
                <a:gd name="T3" fmla="*/ 24 h 320"/>
                <a:gd name="T4" fmla="*/ 2 w 160"/>
                <a:gd name="T5" fmla="*/ 48 h 320"/>
                <a:gd name="T6" fmla="*/ 112 w 160"/>
                <a:gd name="T7" fmla="*/ 160 h 320"/>
                <a:gd name="T8" fmla="*/ 4 w 160"/>
                <a:gd name="T9" fmla="*/ 272 h 320"/>
                <a:gd name="T10" fmla="*/ 24 w 160"/>
                <a:gd name="T11" fmla="*/ 296 h 320"/>
                <a:gd name="T12" fmla="*/ 0 w 160"/>
                <a:gd name="T13" fmla="*/ 320 h 320"/>
                <a:gd name="T14" fmla="*/ 0 w 160"/>
                <a:gd name="T15" fmla="*/ 320 h 320"/>
                <a:gd name="T16" fmla="*/ 160 w 160"/>
                <a:gd name="T17" fmla="*/ 160 h 320"/>
                <a:gd name="T18" fmla="*/ 0 w 160"/>
                <a:gd name="T19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20">
                  <a:moveTo>
                    <a:pt x="0" y="0"/>
                  </a:moveTo>
                  <a:cubicBezTo>
                    <a:pt x="14" y="0"/>
                    <a:pt x="25" y="11"/>
                    <a:pt x="25" y="24"/>
                  </a:cubicBezTo>
                  <a:cubicBezTo>
                    <a:pt x="25" y="37"/>
                    <a:pt x="14" y="48"/>
                    <a:pt x="2" y="48"/>
                  </a:cubicBezTo>
                  <a:cubicBezTo>
                    <a:pt x="63" y="49"/>
                    <a:pt x="112" y="99"/>
                    <a:pt x="112" y="160"/>
                  </a:cubicBezTo>
                  <a:cubicBezTo>
                    <a:pt x="112" y="220"/>
                    <a:pt x="64" y="270"/>
                    <a:pt x="4" y="272"/>
                  </a:cubicBezTo>
                  <a:cubicBezTo>
                    <a:pt x="16" y="274"/>
                    <a:pt x="24" y="284"/>
                    <a:pt x="24" y="296"/>
                  </a:cubicBezTo>
                  <a:cubicBezTo>
                    <a:pt x="24" y="309"/>
                    <a:pt x="13" y="320"/>
                    <a:pt x="0" y="320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89" y="320"/>
                    <a:pt x="160" y="249"/>
                    <a:pt x="160" y="160"/>
                  </a:cubicBezTo>
                  <a:cubicBezTo>
                    <a:pt x="160" y="72"/>
                    <a:pt x="89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5835743" y="2431763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5731983" y="3029575"/>
            <a:ext cx="407747" cy="734331"/>
            <a:chOff x="5345725" y="2408567"/>
            <a:chExt cx="611798" cy="110181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6" name="Oval 25"/>
            <p:cNvSpPr>
              <a:spLocks noChangeArrowheads="1"/>
            </p:cNvSpPr>
            <p:nvPr/>
          </p:nvSpPr>
          <p:spPr bwMode="auto">
            <a:xfrm>
              <a:off x="5835743" y="3365406"/>
              <a:ext cx="121780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345725" y="2408567"/>
              <a:ext cx="552357" cy="1101815"/>
            </a:xfrm>
            <a:custGeom>
              <a:avLst/>
              <a:gdLst>
                <a:gd name="T0" fmla="*/ 160 w 160"/>
                <a:gd name="T1" fmla="*/ 321 h 321"/>
                <a:gd name="T2" fmla="*/ 135 w 160"/>
                <a:gd name="T3" fmla="*/ 296 h 321"/>
                <a:gd name="T4" fmla="*/ 156 w 160"/>
                <a:gd name="T5" fmla="*/ 272 h 321"/>
                <a:gd name="T6" fmla="*/ 48 w 160"/>
                <a:gd name="T7" fmla="*/ 161 h 321"/>
                <a:gd name="T8" fmla="*/ 158 w 160"/>
                <a:gd name="T9" fmla="*/ 49 h 321"/>
                <a:gd name="T10" fmla="*/ 136 w 160"/>
                <a:gd name="T11" fmla="*/ 25 h 321"/>
                <a:gd name="T12" fmla="*/ 160 w 160"/>
                <a:gd name="T13" fmla="*/ 0 h 321"/>
                <a:gd name="T14" fmla="*/ 0 w 160"/>
                <a:gd name="T15" fmla="*/ 161 h 321"/>
                <a:gd name="T16" fmla="*/ 160 w 160"/>
                <a:gd name="T17" fmla="*/ 321 h 321"/>
                <a:gd name="T18" fmla="*/ 160 w 160"/>
                <a:gd name="T19" fmla="*/ 321 h 321"/>
                <a:gd name="T20" fmla="*/ 160 w 160"/>
                <a:gd name="T21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21">
                  <a:moveTo>
                    <a:pt x="160" y="321"/>
                  </a:moveTo>
                  <a:cubicBezTo>
                    <a:pt x="146" y="321"/>
                    <a:pt x="135" y="310"/>
                    <a:pt x="135" y="296"/>
                  </a:cubicBezTo>
                  <a:cubicBezTo>
                    <a:pt x="135" y="284"/>
                    <a:pt x="144" y="274"/>
                    <a:pt x="156" y="272"/>
                  </a:cubicBezTo>
                  <a:cubicBezTo>
                    <a:pt x="96" y="270"/>
                    <a:pt x="48" y="221"/>
                    <a:pt x="48" y="161"/>
                  </a:cubicBezTo>
                  <a:cubicBezTo>
                    <a:pt x="48" y="100"/>
                    <a:pt x="97" y="50"/>
                    <a:pt x="158" y="49"/>
                  </a:cubicBezTo>
                  <a:cubicBezTo>
                    <a:pt x="146" y="48"/>
                    <a:pt x="136" y="38"/>
                    <a:pt x="136" y="25"/>
                  </a:cubicBezTo>
                  <a:cubicBezTo>
                    <a:pt x="136" y="11"/>
                    <a:pt x="147" y="0"/>
                    <a:pt x="160" y="0"/>
                  </a:cubicBezTo>
                  <a:cubicBezTo>
                    <a:pt x="71" y="0"/>
                    <a:pt x="0" y="72"/>
                    <a:pt x="0" y="161"/>
                  </a:cubicBezTo>
                  <a:cubicBezTo>
                    <a:pt x="0" y="249"/>
                    <a:pt x="71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058568" y="3653756"/>
            <a:ext cx="410645" cy="731432"/>
            <a:chOff x="5835743" y="3345110"/>
            <a:chExt cx="616146" cy="1097466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>
              <a:off x="5835743" y="4299050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898082" y="3345110"/>
              <a:ext cx="553807" cy="1097466"/>
            </a:xfrm>
            <a:custGeom>
              <a:avLst/>
              <a:gdLst>
                <a:gd name="T0" fmla="*/ 5 w 160"/>
                <a:gd name="T1" fmla="*/ 0 h 320"/>
                <a:gd name="T2" fmla="*/ 24 w 160"/>
                <a:gd name="T3" fmla="*/ 23 h 320"/>
                <a:gd name="T4" fmla="*/ 0 w 160"/>
                <a:gd name="T5" fmla="*/ 48 h 320"/>
                <a:gd name="T6" fmla="*/ 0 w 160"/>
                <a:gd name="T7" fmla="*/ 48 h 320"/>
                <a:gd name="T8" fmla="*/ 112 w 160"/>
                <a:gd name="T9" fmla="*/ 160 h 320"/>
                <a:gd name="T10" fmla="*/ 2 w 160"/>
                <a:gd name="T11" fmla="*/ 272 h 320"/>
                <a:gd name="T12" fmla="*/ 24 w 160"/>
                <a:gd name="T13" fmla="*/ 296 h 320"/>
                <a:gd name="T14" fmla="*/ 0 w 160"/>
                <a:gd name="T15" fmla="*/ 320 h 320"/>
                <a:gd name="T16" fmla="*/ 0 w 160"/>
                <a:gd name="T17" fmla="*/ 320 h 320"/>
                <a:gd name="T18" fmla="*/ 160 w 160"/>
                <a:gd name="T19" fmla="*/ 160 h 320"/>
                <a:gd name="T20" fmla="*/ 5 w 160"/>
                <a:gd name="T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20">
                  <a:moveTo>
                    <a:pt x="5" y="0"/>
                  </a:moveTo>
                  <a:cubicBezTo>
                    <a:pt x="16" y="2"/>
                    <a:pt x="24" y="12"/>
                    <a:pt x="24" y="23"/>
                  </a:cubicBezTo>
                  <a:cubicBezTo>
                    <a:pt x="24" y="37"/>
                    <a:pt x="13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62" y="48"/>
                    <a:pt x="112" y="98"/>
                    <a:pt x="112" y="160"/>
                  </a:cubicBezTo>
                  <a:cubicBezTo>
                    <a:pt x="112" y="221"/>
                    <a:pt x="63" y="270"/>
                    <a:pt x="2" y="272"/>
                  </a:cubicBezTo>
                  <a:cubicBezTo>
                    <a:pt x="15" y="273"/>
                    <a:pt x="24" y="283"/>
                    <a:pt x="24" y="296"/>
                  </a:cubicBezTo>
                  <a:cubicBezTo>
                    <a:pt x="24" y="309"/>
                    <a:pt x="13" y="320"/>
                    <a:pt x="0" y="320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89" y="320"/>
                    <a:pt x="160" y="248"/>
                    <a:pt x="160" y="160"/>
                  </a:cubicBezTo>
                  <a:cubicBezTo>
                    <a:pt x="160" y="73"/>
                    <a:pt x="91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731983" y="4273107"/>
            <a:ext cx="407747" cy="734331"/>
            <a:chOff x="5345725" y="4274405"/>
            <a:chExt cx="611798" cy="1101815"/>
          </a:xfrm>
          <a:solidFill>
            <a:schemeClr val="tx2"/>
          </a:solidFill>
        </p:grpSpPr>
        <p:sp>
          <p:nvSpPr>
            <p:cNvPr id="32" name="Oval 31"/>
            <p:cNvSpPr>
              <a:spLocks noChangeArrowheads="1"/>
            </p:cNvSpPr>
            <p:nvPr/>
          </p:nvSpPr>
          <p:spPr bwMode="auto">
            <a:xfrm>
              <a:off x="5835743" y="5235593"/>
              <a:ext cx="121780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345725" y="4274405"/>
              <a:ext cx="552357" cy="1101815"/>
            </a:xfrm>
            <a:custGeom>
              <a:avLst/>
              <a:gdLst>
                <a:gd name="T0" fmla="*/ 135 w 160"/>
                <a:gd name="T1" fmla="*/ 297 h 321"/>
                <a:gd name="T2" fmla="*/ 159 w 160"/>
                <a:gd name="T3" fmla="*/ 273 h 321"/>
                <a:gd name="T4" fmla="*/ 160 w 160"/>
                <a:gd name="T5" fmla="*/ 273 h 321"/>
                <a:gd name="T6" fmla="*/ 160 w 160"/>
                <a:gd name="T7" fmla="*/ 273 h 321"/>
                <a:gd name="T8" fmla="*/ 48 w 160"/>
                <a:gd name="T9" fmla="*/ 161 h 321"/>
                <a:gd name="T10" fmla="*/ 158 w 160"/>
                <a:gd name="T11" fmla="*/ 49 h 321"/>
                <a:gd name="T12" fmla="*/ 136 w 160"/>
                <a:gd name="T13" fmla="*/ 25 h 321"/>
                <a:gd name="T14" fmla="*/ 160 w 160"/>
                <a:gd name="T15" fmla="*/ 0 h 321"/>
                <a:gd name="T16" fmla="*/ 160 w 160"/>
                <a:gd name="T17" fmla="*/ 0 h 321"/>
                <a:gd name="T18" fmla="*/ 0 w 160"/>
                <a:gd name="T19" fmla="*/ 161 h 321"/>
                <a:gd name="T20" fmla="*/ 153 w 160"/>
                <a:gd name="T21" fmla="*/ 321 h 321"/>
                <a:gd name="T22" fmla="*/ 135 w 160"/>
                <a:gd name="T23" fmla="*/ 29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321">
                  <a:moveTo>
                    <a:pt x="135" y="297"/>
                  </a:moveTo>
                  <a:cubicBezTo>
                    <a:pt x="135" y="284"/>
                    <a:pt x="146" y="273"/>
                    <a:pt x="159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98" y="273"/>
                    <a:pt x="48" y="222"/>
                    <a:pt x="48" y="161"/>
                  </a:cubicBezTo>
                  <a:cubicBezTo>
                    <a:pt x="48" y="100"/>
                    <a:pt x="97" y="50"/>
                    <a:pt x="158" y="49"/>
                  </a:cubicBezTo>
                  <a:cubicBezTo>
                    <a:pt x="146" y="48"/>
                    <a:pt x="136" y="38"/>
                    <a:pt x="136" y="25"/>
                  </a:cubicBezTo>
                  <a:cubicBezTo>
                    <a:pt x="136" y="11"/>
                    <a:pt x="147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71" y="0"/>
                    <a:pt x="0" y="72"/>
                    <a:pt x="0" y="161"/>
                  </a:cubicBezTo>
                  <a:cubicBezTo>
                    <a:pt x="0" y="247"/>
                    <a:pt x="68" y="317"/>
                    <a:pt x="153" y="321"/>
                  </a:cubicBezTo>
                  <a:cubicBezTo>
                    <a:pt x="143" y="318"/>
                    <a:pt x="135" y="309"/>
                    <a:pt x="135" y="2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058568" y="4898254"/>
            <a:ext cx="410645" cy="734331"/>
            <a:chOff x="5835743" y="5212397"/>
            <a:chExt cx="616146" cy="1101815"/>
          </a:xfrm>
          <a:solidFill>
            <a:schemeClr val="bg2"/>
          </a:solidFill>
        </p:grpSpPr>
        <p:sp>
          <p:nvSpPr>
            <p:cNvPr id="35" name="Oval 34"/>
            <p:cNvSpPr>
              <a:spLocks noChangeArrowheads="1"/>
            </p:cNvSpPr>
            <p:nvPr/>
          </p:nvSpPr>
          <p:spPr bwMode="auto">
            <a:xfrm>
              <a:off x="5835743" y="6169236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898082" y="5212397"/>
              <a:ext cx="553807" cy="1101815"/>
            </a:xfrm>
            <a:custGeom>
              <a:avLst/>
              <a:gdLst>
                <a:gd name="T0" fmla="*/ 0 w 160"/>
                <a:gd name="T1" fmla="*/ 0 h 321"/>
                <a:gd name="T2" fmla="*/ 0 w 160"/>
                <a:gd name="T3" fmla="*/ 0 h 321"/>
                <a:gd name="T4" fmla="*/ 24 w 160"/>
                <a:gd name="T5" fmla="*/ 24 h 321"/>
                <a:gd name="T6" fmla="*/ 1 w 160"/>
                <a:gd name="T7" fmla="*/ 49 h 321"/>
                <a:gd name="T8" fmla="*/ 112 w 160"/>
                <a:gd name="T9" fmla="*/ 160 h 321"/>
                <a:gd name="T10" fmla="*/ 2 w 160"/>
                <a:gd name="T11" fmla="*/ 272 h 321"/>
                <a:gd name="T12" fmla="*/ 24 w 160"/>
                <a:gd name="T13" fmla="*/ 296 h 321"/>
                <a:gd name="T14" fmla="*/ 0 w 160"/>
                <a:gd name="T15" fmla="*/ 321 h 321"/>
                <a:gd name="T16" fmla="*/ 160 w 160"/>
                <a:gd name="T17" fmla="*/ 160 h 321"/>
                <a:gd name="T18" fmla="*/ 0 w 160"/>
                <a:gd name="T1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24" y="11"/>
                    <a:pt x="24" y="24"/>
                  </a:cubicBezTo>
                  <a:cubicBezTo>
                    <a:pt x="24" y="37"/>
                    <a:pt x="14" y="48"/>
                    <a:pt x="1" y="49"/>
                  </a:cubicBezTo>
                  <a:cubicBezTo>
                    <a:pt x="62" y="49"/>
                    <a:pt x="112" y="99"/>
                    <a:pt x="112" y="160"/>
                  </a:cubicBezTo>
                  <a:cubicBezTo>
                    <a:pt x="112" y="222"/>
                    <a:pt x="63" y="271"/>
                    <a:pt x="2" y="272"/>
                  </a:cubicBezTo>
                  <a:cubicBezTo>
                    <a:pt x="14" y="273"/>
                    <a:pt x="24" y="283"/>
                    <a:pt x="24" y="296"/>
                  </a:cubicBezTo>
                  <a:cubicBezTo>
                    <a:pt x="24" y="310"/>
                    <a:pt x="13" y="321"/>
                    <a:pt x="0" y="321"/>
                  </a:cubicBezTo>
                  <a:cubicBezTo>
                    <a:pt x="89" y="321"/>
                    <a:pt x="160" y="249"/>
                    <a:pt x="160" y="160"/>
                  </a:cubicBezTo>
                  <a:cubicBezTo>
                    <a:pt x="160" y="72"/>
                    <a:pt x="89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70" name="Group 69"/>
          <p:cNvGrpSpPr>
            <a:grpSpLocks/>
          </p:cNvGrpSpPr>
          <p:nvPr/>
        </p:nvGrpSpPr>
        <p:grpSpPr bwMode="auto">
          <a:xfrm>
            <a:off x="5903913" y="2583717"/>
            <a:ext cx="392112" cy="390525"/>
            <a:chOff x="5840345" y="1776226"/>
            <a:chExt cx="521643" cy="521643"/>
          </a:xfrm>
        </p:grpSpPr>
        <p:sp>
          <p:nvSpPr>
            <p:cNvPr id="50" name="Oval 49"/>
            <p:cNvSpPr/>
            <p:nvPr/>
          </p:nvSpPr>
          <p:spPr>
            <a:xfrm>
              <a:off x="5840345" y="1776226"/>
              <a:ext cx="521643" cy="52164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844569" y="1852564"/>
              <a:ext cx="513195" cy="38233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400" b="1" dirty="0">
                  <a:latin typeface="+mj-lt"/>
                </a:rPr>
                <a:t>01</a:t>
              </a:r>
              <a:endParaRPr lang="en-US" sz="1400" b="1" dirty="0">
                <a:latin typeface="+mj-lt"/>
              </a:endParaRPr>
            </a:p>
          </p:txBody>
        </p:sp>
      </p:grpSp>
      <p:grpSp>
        <p:nvGrpSpPr>
          <p:cNvPr id="71" name="Group 70"/>
          <p:cNvGrpSpPr>
            <a:grpSpLocks/>
          </p:cNvGrpSpPr>
          <p:nvPr/>
        </p:nvGrpSpPr>
        <p:grpSpPr bwMode="auto">
          <a:xfrm>
            <a:off x="5903913" y="3206017"/>
            <a:ext cx="392112" cy="390525"/>
            <a:chOff x="5840345" y="2605715"/>
            <a:chExt cx="521643" cy="521643"/>
          </a:xfrm>
        </p:grpSpPr>
        <p:sp>
          <p:nvSpPr>
            <p:cNvPr id="47" name="Oval 46"/>
            <p:cNvSpPr/>
            <p:nvPr/>
          </p:nvSpPr>
          <p:spPr>
            <a:xfrm>
              <a:off x="5840345" y="2605715"/>
              <a:ext cx="521643" cy="52164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844569" y="2682053"/>
              <a:ext cx="513195" cy="38233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400" b="1" dirty="0">
                  <a:latin typeface="+mj-lt"/>
                </a:rPr>
                <a:t>02</a:t>
              </a:r>
              <a:endParaRPr lang="en-US" sz="1400" b="1" dirty="0">
                <a:latin typeface="+mj-lt"/>
              </a:endParaRPr>
            </a:p>
          </p:txBody>
        </p:sp>
      </p:grpSp>
      <p:grpSp>
        <p:nvGrpSpPr>
          <p:cNvPr id="72" name="Group 71"/>
          <p:cNvGrpSpPr>
            <a:grpSpLocks/>
          </p:cNvGrpSpPr>
          <p:nvPr/>
        </p:nvGrpSpPr>
        <p:grpSpPr bwMode="auto">
          <a:xfrm>
            <a:off x="5903913" y="3826729"/>
            <a:ext cx="392112" cy="392113"/>
            <a:chOff x="5840345" y="3434999"/>
            <a:chExt cx="521643" cy="521643"/>
          </a:xfrm>
        </p:grpSpPr>
        <p:sp>
          <p:nvSpPr>
            <p:cNvPr id="44" name="Oval 43"/>
            <p:cNvSpPr/>
            <p:nvPr/>
          </p:nvSpPr>
          <p:spPr>
            <a:xfrm>
              <a:off x="5840345" y="3434999"/>
              <a:ext cx="521643" cy="521643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844569" y="3511028"/>
              <a:ext cx="513195" cy="3807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400" b="1" dirty="0">
                  <a:latin typeface="+mj-lt"/>
                </a:rPr>
                <a:t>03</a:t>
              </a:r>
              <a:endParaRPr lang="en-US" sz="1400" b="1" dirty="0">
                <a:latin typeface="+mj-lt"/>
              </a:endParaRPr>
            </a:p>
          </p:txBody>
        </p:sp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5903913" y="4449029"/>
            <a:ext cx="392112" cy="392113"/>
            <a:chOff x="5840345" y="4264489"/>
            <a:chExt cx="521643" cy="521643"/>
          </a:xfrm>
        </p:grpSpPr>
        <p:sp>
          <p:nvSpPr>
            <p:cNvPr id="41" name="Oval 40"/>
            <p:cNvSpPr/>
            <p:nvPr/>
          </p:nvSpPr>
          <p:spPr>
            <a:xfrm>
              <a:off x="5840345" y="4264489"/>
              <a:ext cx="521643" cy="52164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844569" y="4340518"/>
              <a:ext cx="513195" cy="3807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400" b="1" dirty="0">
                  <a:latin typeface="+mj-lt"/>
                </a:rPr>
                <a:t>04</a:t>
              </a:r>
              <a:endParaRPr lang="en-US" sz="1400" b="1" dirty="0">
                <a:latin typeface="+mj-lt"/>
              </a:endParaRPr>
            </a:p>
          </p:txBody>
        </p:sp>
      </p:grpSp>
      <p:grpSp>
        <p:nvGrpSpPr>
          <p:cNvPr id="74" name="Group 73"/>
          <p:cNvGrpSpPr>
            <a:grpSpLocks/>
          </p:cNvGrpSpPr>
          <p:nvPr/>
        </p:nvGrpSpPr>
        <p:grpSpPr bwMode="auto">
          <a:xfrm>
            <a:off x="5903913" y="5069741"/>
            <a:ext cx="392112" cy="392112"/>
            <a:chOff x="5840345" y="5091869"/>
            <a:chExt cx="521643" cy="521643"/>
          </a:xfrm>
        </p:grpSpPr>
        <p:sp>
          <p:nvSpPr>
            <p:cNvPr id="38" name="Oval 37"/>
            <p:cNvSpPr/>
            <p:nvPr/>
          </p:nvSpPr>
          <p:spPr>
            <a:xfrm>
              <a:off x="5840345" y="5091869"/>
              <a:ext cx="521643" cy="52164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400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844569" y="5167898"/>
              <a:ext cx="513195" cy="38078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400" b="1" dirty="0">
                  <a:latin typeface="+mj-lt"/>
                </a:rPr>
                <a:t>05</a:t>
              </a:r>
              <a:endParaRPr lang="en-US" sz="1400" b="1" dirty="0">
                <a:latin typeface="+mj-lt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023632" y="2546168"/>
            <a:ext cx="390767" cy="377264"/>
            <a:chOff x="4064000" y="5461000"/>
            <a:chExt cx="735013" cy="709613"/>
          </a:xfrm>
          <a:solidFill>
            <a:schemeClr val="accent1"/>
          </a:solidFill>
        </p:grpSpPr>
        <p:sp>
          <p:nvSpPr>
            <p:cNvPr id="79" name="Freeform 20"/>
            <p:cNvSpPr>
              <a:spLocks noEditPoints="1"/>
            </p:cNvSpPr>
            <p:nvPr/>
          </p:nvSpPr>
          <p:spPr bwMode="auto">
            <a:xfrm>
              <a:off x="4064000" y="5461000"/>
              <a:ext cx="708025" cy="709613"/>
            </a:xfrm>
            <a:custGeom>
              <a:avLst/>
              <a:gdLst>
                <a:gd name="T0" fmla="*/ 142 w 186"/>
                <a:gd name="T1" fmla="*/ 155 h 186"/>
                <a:gd name="T2" fmla="*/ 125 w 186"/>
                <a:gd name="T3" fmla="*/ 165 h 186"/>
                <a:gd name="T4" fmla="*/ 131 w 186"/>
                <a:gd name="T5" fmla="*/ 156 h 186"/>
                <a:gd name="T6" fmla="*/ 121 w 186"/>
                <a:gd name="T7" fmla="*/ 157 h 186"/>
                <a:gd name="T8" fmla="*/ 114 w 186"/>
                <a:gd name="T9" fmla="*/ 156 h 186"/>
                <a:gd name="T10" fmla="*/ 93 w 186"/>
                <a:gd name="T11" fmla="*/ 172 h 186"/>
                <a:gd name="T12" fmla="*/ 60 w 186"/>
                <a:gd name="T13" fmla="*/ 131 h 186"/>
                <a:gd name="T14" fmla="*/ 76 w 186"/>
                <a:gd name="T15" fmla="*/ 131 h 186"/>
                <a:gd name="T16" fmla="*/ 72 w 186"/>
                <a:gd name="T17" fmla="*/ 120 h 186"/>
                <a:gd name="T18" fmla="*/ 71 w 186"/>
                <a:gd name="T19" fmla="*/ 117 h 186"/>
                <a:gd name="T20" fmla="*/ 57 w 186"/>
                <a:gd name="T21" fmla="*/ 117 h 186"/>
                <a:gd name="T22" fmla="*/ 56 w 186"/>
                <a:gd name="T23" fmla="*/ 93 h 186"/>
                <a:gd name="T24" fmla="*/ 57 w 186"/>
                <a:gd name="T25" fmla="*/ 72 h 186"/>
                <a:gd name="T26" fmla="*/ 81 w 186"/>
                <a:gd name="T27" fmla="*/ 72 h 186"/>
                <a:gd name="T28" fmla="*/ 98 w 186"/>
                <a:gd name="T29" fmla="*/ 58 h 186"/>
                <a:gd name="T30" fmla="*/ 60 w 186"/>
                <a:gd name="T31" fmla="*/ 58 h 186"/>
                <a:gd name="T32" fmla="*/ 93 w 186"/>
                <a:gd name="T33" fmla="*/ 14 h 186"/>
                <a:gd name="T34" fmla="*/ 125 w 186"/>
                <a:gd name="T35" fmla="*/ 53 h 186"/>
                <a:gd name="T36" fmla="*/ 140 w 186"/>
                <a:gd name="T37" fmla="*/ 56 h 186"/>
                <a:gd name="T38" fmla="*/ 125 w 186"/>
                <a:gd name="T39" fmla="*/ 21 h 186"/>
                <a:gd name="T40" fmla="*/ 164 w 186"/>
                <a:gd name="T41" fmla="*/ 58 h 186"/>
                <a:gd name="T42" fmla="*/ 145 w 186"/>
                <a:gd name="T43" fmla="*/ 58 h 186"/>
                <a:gd name="T44" fmla="*/ 162 w 186"/>
                <a:gd name="T45" fmla="*/ 72 h 186"/>
                <a:gd name="T46" fmla="*/ 169 w 186"/>
                <a:gd name="T47" fmla="*/ 72 h 186"/>
                <a:gd name="T48" fmla="*/ 172 w 186"/>
                <a:gd name="T49" fmla="*/ 93 h 186"/>
                <a:gd name="T50" fmla="*/ 172 w 186"/>
                <a:gd name="T51" fmla="*/ 94 h 186"/>
                <a:gd name="T52" fmla="*/ 170 w 186"/>
                <a:gd name="T53" fmla="*/ 123 h 186"/>
                <a:gd name="T54" fmla="*/ 178 w 186"/>
                <a:gd name="T55" fmla="*/ 131 h 186"/>
                <a:gd name="T56" fmla="*/ 178 w 186"/>
                <a:gd name="T57" fmla="*/ 131 h 186"/>
                <a:gd name="T58" fmla="*/ 179 w 186"/>
                <a:gd name="T59" fmla="*/ 131 h 186"/>
                <a:gd name="T60" fmla="*/ 179 w 186"/>
                <a:gd name="T61" fmla="*/ 128 h 186"/>
                <a:gd name="T62" fmla="*/ 186 w 186"/>
                <a:gd name="T63" fmla="*/ 93 h 186"/>
                <a:gd name="T64" fmla="*/ 93 w 186"/>
                <a:gd name="T65" fmla="*/ 0 h 186"/>
                <a:gd name="T66" fmla="*/ 0 w 186"/>
                <a:gd name="T67" fmla="*/ 93 h 186"/>
                <a:gd name="T68" fmla="*/ 93 w 186"/>
                <a:gd name="T69" fmla="*/ 186 h 186"/>
                <a:gd name="T70" fmla="*/ 151 w 186"/>
                <a:gd name="T71" fmla="*/ 166 h 186"/>
                <a:gd name="T72" fmla="*/ 142 w 186"/>
                <a:gd name="T73" fmla="*/ 155 h 186"/>
                <a:gd name="T74" fmla="*/ 61 w 186"/>
                <a:gd name="T75" fmla="*/ 21 h 186"/>
                <a:gd name="T76" fmla="*/ 45 w 186"/>
                <a:gd name="T77" fmla="*/ 58 h 186"/>
                <a:gd name="T78" fmla="*/ 22 w 186"/>
                <a:gd name="T79" fmla="*/ 58 h 186"/>
                <a:gd name="T80" fmla="*/ 61 w 186"/>
                <a:gd name="T81" fmla="*/ 21 h 186"/>
                <a:gd name="T82" fmla="*/ 14 w 186"/>
                <a:gd name="T83" fmla="*/ 93 h 186"/>
                <a:gd name="T84" fmla="*/ 17 w 186"/>
                <a:gd name="T85" fmla="*/ 72 h 186"/>
                <a:gd name="T86" fmla="*/ 43 w 186"/>
                <a:gd name="T87" fmla="*/ 72 h 186"/>
                <a:gd name="T88" fmla="*/ 42 w 186"/>
                <a:gd name="T89" fmla="*/ 93 h 186"/>
                <a:gd name="T90" fmla="*/ 43 w 186"/>
                <a:gd name="T91" fmla="*/ 117 h 186"/>
                <a:gd name="T92" fmla="*/ 17 w 186"/>
                <a:gd name="T93" fmla="*/ 117 h 186"/>
                <a:gd name="T94" fmla="*/ 14 w 186"/>
                <a:gd name="T95" fmla="*/ 93 h 186"/>
                <a:gd name="T96" fmla="*/ 23 w 186"/>
                <a:gd name="T97" fmla="*/ 131 h 186"/>
                <a:gd name="T98" fmla="*/ 46 w 186"/>
                <a:gd name="T99" fmla="*/ 131 h 186"/>
                <a:gd name="T100" fmla="*/ 61 w 186"/>
                <a:gd name="T101" fmla="*/ 165 h 186"/>
                <a:gd name="T102" fmla="*/ 23 w 186"/>
                <a:gd name="T103" fmla="*/ 13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" h="186">
                  <a:moveTo>
                    <a:pt x="142" y="155"/>
                  </a:moveTo>
                  <a:cubicBezTo>
                    <a:pt x="137" y="159"/>
                    <a:pt x="131" y="163"/>
                    <a:pt x="125" y="165"/>
                  </a:cubicBezTo>
                  <a:cubicBezTo>
                    <a:pt x="127" y="162"/>
                    <a:pt x="129" y="159"/>
                    <a:pt x="131" y="156"/>
                  </a:cubicBezTo>
                  <a:cubicBezTo>
                    <a:pt x="128" y="157"/>
                    <a:pt x="124" y="157"/>
                    <a:pt x="121" y="157"/>
                  </a:cubicBezTo>
                  <a:cubicBezTo>
                    <a:pt x="119" y="157"/>
                    <a:pt x="117" y="157"/>
                    <a:pt x="114" y="156"/>
                  </a:cubicBezTo>
                  <a:cubicBezTo>
                    <a:pt x="108" y="166"/>
                    <a:pt x="100" y="172"/>
                    <a:pt x="93" y="172"/>
                  </a:cubicBezTo>
                  <a:cubicBezTo>
                    <a:pt x="81" y="172"/>
                    <a:pt x="67" y="156"/>
                    <a:pt x="60" y="131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4" y="127"/>
                    <a:pt x="73" y="124"/>
                    <a:pt x="72" y="120"/>
                  </a:cubicBezTo>
                  <a:cubicBezTo>
                    <a:pt x="71" y="119"/>
                    <a:pt x="71" y="118"/>
                    <a:pt x="71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6" y="109"/>
                    <a:pt x="56" y="101"/>
                    <a:pt x="56" y="93"/>
                  </a:cubicBezTo>
                  <a:cubicBezTo>
                    <a:pt x="56" y="86"/>
                    <a:pt x="56" y="79"/>
                    <a:pt x="57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5" y="66"/>
                    <a:pt x="91" y="62"/>
                    <a:pt x="98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6" y="32"/>
                    <a:pt x="80" y="14"/>
                    <a:pt x="93" y="14"/>
                  </a:cubicBezTo>
                  <a:cubicBezTo>
                    <a:pt x="105" y="14"/>
                    <a:pt x="118" y="29"/>
                    <a:pt x="125" y="53"/>
                  </a:cubicBezTo>
                  <a:cubicBezTo>
                    <a:pt x="130" y="53"/>
                    <a:pt x="135" y="54"/>
                    <a:pt x="140" y="56"/>
                  </a:cubicBezTo>
                  <a:cubicBezTo>
                    <a:pt x="137" y="42"/>
                    <a:pt x="132" y="30"/>
                    <a:pt x="125" y="21"/>
                  </a:cubicBezTo>
                  <a:cubicBezTo>
                    <a:pt x="142" y="28"/>
                    <a:pt x="156" y="42"/>
                    <a:pt x="164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51" y="62"/>
                    <a:pt x="157" y="66"/>
                    <a:pt x="162" y="72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1" y="79"/>
                    <a:pt x="172" y="86"/>
                    <a:pt x="172" y="93"/>
                  </a:cubicBezTo>
                  <a:cubicBezTo>
                    <a:pt x="172" y="93"/>
                    <a:pt x="172" y="94"/>
                    <a:pt x="172" y="94"/>
                  </a:cubicBezTo>
                  <a:cubicBezTo>
                    <a:pt x="174" y="104"/>
                    <a:pt x="173" y="113"/>
                    <a:pt x="170" y="123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9" y="131"/>
                    <a:pt x="179" y="131"/>
                    <a:pt x="179" y="131"/>
                  </a:cubicBezTo>
                  <a:cubicBezTo>
                    <a:pt x="179" y="128"/>
                    <a:pt x="179" y="128"/>
                    <a:pt x="179" y="128"/>
                  </a:cubicBezTo>
                  <a:cubicBezTo>
                    <a:pt x="184" y="117"/>
                    <a:pt x="186" y="106"/>
                    <a:pt x="186" y="93"/>
                  </a:cubicBezTo>
                  <a:cubicBezTo>
                    <a:pt x="186" y="42"/>
                    <a:pt x="144" y="0"/>
                    <a:pt x="93" y="0"/>
                  </a:cubicBezTo>
                  <a:cubicBezTo>
                    <a:pt x="42" y="0"/>
                    <a:pt x="0" y="42"/>
                    <a:pt x="0" y="93"/>
                  </a:cubicBezTo>
                  <a:cubicBezTo>
                    <a:pt x="0" y="144"/>
                    <a:pt x="42" y="186"/>
                    <a:pt x="93" y="186"/>
                  </a:cubicBezTo>
                  <a:cubicBezTo>
                    <a:pt x="115" y="186"/>
                    <a:pt x="135" y="178"/>
                    <a:pt x="151" y="166"/>
                  </a:cubicBezTo>
                  <a:lnTo>
                    <a:pt x="142" y="155"/>
                  </a:lnTo>
                  <a:close/>
                  <a:moveTo>
                    <a:pt x="61" y="21"/>
                  </a:moveTo>
                  <a:cubicBezTo>
                    <a:pt x="54" y="31"/>
                    <a:pt x="49" y="44"/>
                    <a:pt x="45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30" y="42"/>
                    <a:pt x="44" y="28"/>
                    <a:pt x="61" y="21"/>
                  </a:cubicBezTo>
                  <a:close/>
                  <a:moveTo>
                    <a:pt x="14" y="93"/>
                  </a:moveTo>
                  <a:cubicBezTo>
                    <a:pt x="14" y="86"/>
                    <a:pt x="15" y="79"/>
                    <a:pt x="17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2" y="79"/>
                    <a:pt x="42" y="86"/>
                    <a:pt x="42" y="93"/>
                  </a:cubicBezTo>
                  <a:cubicBezTo>
                    <a:pt x="42" y="101"/>
                    <a:pt x="42" y="109"/>
                    <a:pt x="43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5" y="109"/>
                    <a:pt x="14" y="101"/>
                    <a:pt x="14" y="93"/>
                  </a:cubicBezTo>
                  <a:close/>
                  <a:moveTo>
                    <a:pt x="23" y="131"/>
                  </a:moveTo>
                  <a:cubicBezTo>
                    <a:pt x="46" y="131"/>
                    <a:pt x="46" y="131"/>
                    <a:pt x="46" y="131"/>
                  </a:cubicBezTo>
                  <a:cubicBezTo>
                    <a:pt x="49" y="144"/>
                    <a:pt x="54" y="156"/>
                    <a:pt x="61" y="165"/>
                  </a:cubicBezTo>
                  <a:cubicBezTo>
                    <a:pt x="45" y="158"/>
                    <a:pt x="32" y="146"/>
                    <a:pt x="23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80" name="Freeform 21"/>
            <p:cNvSpPr>
              <a:spLocks noEditPoints="1"/>
            </p:cNvSpPr>
            <p:nvPr/>
          </p:nvSpPr>
          <p:spPr bwMode="auto">
            <a:xfrm>
              <a:off x="4352925" y="5691188"/>
              <a:ext cx="446088" cy="446088"/>
            </a:xfrm>
            <a:custGeom>
              <a:avLst/>
              <a:gdLst>
                <a:gd name="T0" fmla="*/ 116 w 117"/>
                <a:gd name="T1" fmla="*/ 103 h 117"/>
                <a:gd name="T2" fmla="*/ 81 w 117"/>
                <a:gd name="T3" fmla="*/ 65 h 117"/>
                <a:gd name="T4" fmla="*/ 80 w 117"/>
                <a:gd name="T5" fmla="*/ 65 h 117"/>
                <a:gd name="T6" fmla="*/ 84 w 117"/>
                <a:gd name="T7" fmla="*/ 33 h 117"/>
                <a:gd name="T8" fmla="*/ 33 w 117"/>
                <a:gd name="T9" fmla="*/ 6 h 117"/>
                <a:gd name="T10" fmla="*/ 7 w 117"/>
                <a:gd name="T11" fmla="*/ 57 h 117"/>
                <a:gd name="T12" fmla="*/ 57 w 117"/>
                <a:gd name="T13" fmla="*/ 83 h 117"/>
                <a:gd name="T14" fmla="*/ 67 w 117"/>
                <a:gd name="T15" fmla="*/ 79 h 117"/>
                <a:gd name="T16" fmla="*/ 101 w 117"/>
                <a:gd name="T17" fmla="*/ 116 h 117"/>
                <a:gd name="T18" fmla="*/ 106 w 117"/>
                <a:gd name="T19" fmla="*/ 115 h 117"/>
                <a:gd name="T20" fmla="*/ 114 w 117"/>
                <a:gd name="T21" fmla="*/ 108 h 117"/>
                <a:gd name="T22" fmla="*/ 116 w 117"/>
                <a:gd name="T23" fmla="*/ 103 h 117"/>
                <a:gd name="T24" fmla="*/ 17 w 117"/>
                <a:gd name="T25" fmla="*/ 54 h 117"/>
                <a:gd name="T26" fmla="*/ 36 w 117"/>
                <a:gd name="T27" fmla="*/ 17 h 117"/>
                <a:gd name="T28" fmla="*/ 73 w 117"/>
                <a:gd name="T29" fmla="*/ 36 h 117"/>
                <a:gd name="T30" fmla="*/ 54 w 117"/>
                <a:gd name="T31" fmla="*/ 73 h 117"/>
                <a:gd name="T32" fmla="*/ 17 w 117"/>
                <a:gd name="T33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17">
                  <a:moveTo>
                    <a:pt x="116" y="103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0" y="65"/>
                    <a:pt x="80" y="65"/>
                  </a:cubicBezTo>
                  <a:cubicBezTo>
                    <a:pt x="86" y="55"/>
                    <a:pt x="87" y="44"/>
                    <a:pt x="84" y="33"/>
                  </a:cubicBezTo>
                  <a:cubicBezTo>
                    <a:pt x="77" y="11"/>
                    <a:pt x="54" y="0"/>
                    <a:pt x="33" y="6"/>
                  </a:cubicBezTo>
                  <a:cubicBezTo>
                    <a:pt x="12" y="13"/>
                    <a:pt x="0" y="36"/>
                    <a:pt x="7" y="57"/>
                  </a:cubicBezTo>
                  <a:cubicBezTo>
                    <a:pt x="13" y="78"/>
                    <a:pt x="36" y="90"/>
                    <a:pt x="57" y="83"/>
                  </a:cubicBezTo>
                  <a:cubicBezTo>
                    <a:pt x="61" y="82"/>
                    <a:pt x="64" y="81"/>
                    <a:pt x="67" y="79"/>
                  </a:cubicBezTo>
                  <a:cubicBezTo>
                    <a:pt x="101" y="116"/>
                    <a:pt x="101" y="116"/>
                    <a:pt x="101" y="116"/>
                  </a:cubicBezTo>
                  <a:cubicBezTo>
                    <a:pt x="102" y="117"/>
                    <a:pt x="104" y="117"/>
                    <a:pt x="106" y="115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6" y="106"/>
                    <a:pt x="117" y="104"/>
                    <a:pt x="116" y="103"/>
                  </a:cubicBezTo>
                  <a:close/>
                  <a:moveTo>
                    <a:pt x="17" y="54"/>
                  </a:moveTo>
                  <a:cubicBezTo>
                    <a:pt x="12" y="38"/>
                    <a:pt x="21" y="22"/>
                    <a:pt x="36" y="17"/>
                  </a:cubicBezTo>
                  <a:cubicBezTo>
                    <a:pt x="52" y="12"/>
                    <a:pt x="69" y="20"/>
                    <a:pt x="73" y="36"/>
                  </a:cubicBezTo>
                  <a:cubicBezTo>
                    <a:pt x="78" y="52"/>
                    <a:pt x="70" y="68"/>
                    <a:pt x="54" y="73"/>
                  </a:cubicBezTo>
                  <a:cubicBezTo>
                    <a:pt x="39" y="78"/>
                    <a:pt x="22" y="69"/>
                    <a:pt x="17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81" name="Freeform 22"/>
            <p:cNvSpPr>
              <a:spLocks/>
            </p:cNvSpPr>
            <p:nvPr/>
          </p:nvSpPr>
          <p:spPr bwMode="auto">
            <a:xfrm>
              <a:off x="4433888" y="5754688"/>
              <a:ext cx="190500" cy="141288"/>
            </a:xfrm>
            <a:custGeom>
              <a:avLst/>
              <a:gdLst>
                <a:gd name="T0" fmla="*/ 10 w 50"/>
                <a:gd name="T1" fmla="*/ 16 h 37"/>
                <a:gd name="T2" fmla="*/ 48 w 50"/>
                <a:gd name="T3" fmla="*/ 36 h 37"/>
                <a:gd name="T4" fmla="*/ 48 w 50"/>
                <a:gd name="T5" fmla="*/ 37 h 37"/>
                <a:gd name="T6" fmla="*/ 49 w 50"/>
                <a:gd name="T7" fmla="*/ 20 h 37"/>
                <a:gd name="T8" fmla="*/ 17 w 50"/>
                <a:gd name="T9" fmla="*/ 4 h 37"/>
                <a:gd name="T10" fmla="*/ 0 w 50"/>
                <a:gd name="T11" fmla="*/ 21 h 37"/>
                <a:gd name="T12" fmla="*/ 10 w 50"/>
                <a:gd name="T13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37">
                  <a:moveTo>
                    <a:pt x="10" y="16"/>
                  </a:moveTo>
                  <a:cubicBezTo>
                    <a:pt x="26" y="11"/>
                    <a:pt x="43" y="20"/>
                    <a:pt x="48" y="36"/>
                  </a:cubicBezTo>
                  <a:cubicBezTo>
                    <a:pt x="48" y="36"/>
                    <a:pt x="48" y="36"/>
                    <a:pt x="48" y="37"/>
                  </a:cubicBezTo>
                  <a:cubicBezTo>
                    <a:pt x="50" y="32"/>
                    <a:pt x="50" y="26"/>
                    <a:pt x="49" y="20"/>
                  </a:cubicBezTo>
                  <a:cubicBezTo>
                    <a:pt x="45" y="7"/>
                    <a:pt x="30" y="0"/>
                    <a:pt x="17" y="4"/>
                  </a:cubicBezTo>
                  <a:cubicBezTo>
                    <a:pt x="8" y="6"/>
                    <a:pt x="2" y="13"/>
                    <a:pt x="0" y="21"/>
                  </a:cubicBezTo>
                  <a:cubicBezTo>
                    <a:pt x="3" y="19"/>
                    <a:pt x="6" y="17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7146925" y="2974242"/>
            <a:ext cx="2986540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40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Mayor cobertura de pruebas</a:t>
            </a:r>
            <a:endParaRPr lang="en-US" sz="140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3" name="Rectangle 82"/>
          <p:cNvSpPr>
            <a:spLocks noChangeArrowheads="1"/>
          </p:cNvSpPr>
          <p:nvPr/>
        </p:nvSpPr>
        <p:spPr bwMode="auto">
          <a:xfrm>
            <a:off x="7137400" y="3280629"/>
            <a:ext cx="25639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altLang="es-CL" sz="1200" dirty="0">
                <a:solidFill>
                  <a:schemeClr val="accent3"/>
                </a:solidFill>
              </a:rPr>
              <a:t>Extensión del alcance de pruebas para abarcar tanto frontend como backend.</a:t>
            </a:r>
            <a:endParaRPr lang="es-CL" altLang="es-CL" sz="1200" dirty="0">
              <a:solidFill>
                <a:schemeClr val="accent3"/>
              </a:solidFill>
            </a:endParaRPr>
          </a:p>
        </p:txBody>
      </p: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7137400" y="3279041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580276" y="2229298"/>
            <a:ext cx="3386667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sz="140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Análisis de Ciberseguridad automatizado</a:t>
            </a:r>
            <a:endParaRPr lang="en-US" sz="140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6" name="Rectangle 85"/>
          <p:cNvSpPr>
            <a:spLocks noChangeArrowheads="1"/>
          </p:cNvSpPr>
          <p:nvPr/>
        </p:nvSpPr>
        <p:spPr bwMode="auto">
          <a:xfrm>
            <a:off x="1548124" y="2755591"/>
            <a:ext cx="3460424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s-MX" sz="1200" dirty="0"/>
              <a:t>Automatización integral de pruebas de ciberseguridad a lo largo del ciclo de desarrollo, garantizando evaluaciones continuas y sistemáticas.</a:t>
            </a:r>
            <a:endParaRPr lang="en-US" sz="1200" dirty="0"/>
          </a:p>
        </p:txBody>
      </p: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3783013" y="2712303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/>
          <p:cNvGrpSpPr/>
          <p:nvPr/>
        </p:nvGrpSpPr>
        <p:grpSpPr>
          <a:xfrm>
            <a:off x="6731079" y="3084271"/>
            <a:ext cx="363356" cy="362565"/>
            <a:chOff x="7367588" y="4357688"/>
            <a:chExt cx="730250" cy="728662"/>
          </a:xfrm>
          <a:solidFill>
            <a:schemeClr val="accent1"/>
          </a:solidFill>
        </p:grpSpPr>
        <p:sp>
          <p:nvSpPr>
            <p:cNvPr id="89" name="Freeform 26"/>
            <p:cNvSpPr>
              <a:spLocks/>
            </p:cNvSpPr>
            <p:nvPr/>
          </p:nvSpPr>
          <p:spPr bwMode="auto">
            <a:xfrm>
              <a:off x="7367588" y="4452938"/>
              <a:ext cx="631825" cy="633412"/>
            </a:xfrm>
            <a:custGeom>
              <a:avLst/>
              <a:gdLst>
                <a:gd name="T0" fmla="*/ 158 w 166"/>
                <a:gd name="T1" fmla="*/ 51 h 166"/>
                <a:gd name="T2" fmla="*/ 144 w 166"/>
                <a:gd name="T3" fmla="*/ 45 h 166"/>
                <a:gd name="T4" fmla="*/ 133 w 166"/>
                <a:gd name="T5" fmla="*/ 55 h 166"/>
                <a:gd name="T6" fmla="*/ 140 w 166"/>
                <a:gd name="T7" fmla="*/ 83 h 166"/>
                <a:gd name="T8" fmla="*/ 83 w 166"/>
                <a:gd name="T9" fmla="*/ 140 h 166"/>
                <a:gd name="T10" fmla="*/ 26 w 166"/>
                <a:gd name="T11" fmla="*/ 83 h 166"/>
                <a:gd name="T12" fmla="*/ 83 w 166"/>
                <a:gd name="T13" fmla="*/ 26 h 166"/>
                <a:gd name="T14" fmla="*/ 112 w 166"/>
                <a:gd name="T15" fmla="*/ 34 h 166"/>
                <a:gd name="T16" fmla="*/ 122 w 166"/>
                <a:gd name="T17" fmla="*/ 24 h 166"/>
                <a:gd name="T18" fmla="*/ 116 w 166"/>
                <a:gd name="T19" fmla="*/ 9 h 166"/>
                <a:gd name="T20" fmla="*/ 115 w 166"/>
                <a:gd name="T21" fmla="*/ 6 h 166"/>
                <a:gd name="T22" fmla="*/ 83 w 166"/>
                <a:gd name="T23" fmla="*/ 0 h 166"/>
                <a:gd name="T24" fmla="*/ 0 w 166"/>
                <a:gd name="T25" fmla="*/ 83 h 166"/>
                <a:gd name="T26" fmla="*/ 83 w 166"/>
                <a:gd name="T27" fmla="*/ 166 h 166"/>
                <a:gd name="T28" fmla="*/ 166 w 166"/>
                <a:gd name="T29" fmla="*/ 83 h 166"/>
                <a:gd name="T30" fmla="*/ 160 w 166"/>
                <a:gd name="T31" fmla="*/ 52 h 166"/>
                <a:gd name="T32" fmla="*/ 158 w 166"/>
                <a:gd name="T33" fmla="*/ 5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66">
                  <a:moveTo>
                    <a:pt x="158" y="51"/>
                  </a:moveTo>
                  <a:cubicBezTo>
                    <a:pt x="144" y="45"/>
                    <a:pt x="144" y="45"/>
                    <a:pt x="144" y="4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7" y="64"/>
                    <a:pt x="140" y="73"/>
                    <a:pt x="140" y="83"/>
                  </a:cubicBezTo>
                  <a:cubicBezTo>
                    <a:pt x="140" y="114"/>
                    <a:pt x="114" y="140"/>
                    <a:pt x="83" y="140"/>
                  </a:cubicBezTo>
                  <a:cubicBezTo>
                    <a:pt x="51" y="140"/>
                    <a:pt x="26" y="114"/>
                    <a:pt x="26" y="83"/>
                  </a:cubicBezTo>
                  <a:cubicBezTo>
                    <a:pt x="26" y="51"/>
                    <a:pt x="51" y="26"/>
                    <a:pt x="83" y="26"/>
                  </a:cubicBezTo>
                  <a:cubicBezTo>
                    <a:pt x="93" y="26"/>
                    <a:pt x="103" y="29"/>
                    <a:pt x="112" y="34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05" y="2"/>
                    <a:pt x="94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129" y="166"/>
                    <a:pt x="166" y="129"/>
                    <a:pt x="166" y="83"/>
                  </a:cubicBezTo>
                  <a:cubicBezTo>
                    <a:pt x="166" y="72"/>
                    <a:pt x="164" y="61"/>
                    <a:pt x="160" y="52"/>
                  </a:cubicBezTo>
                  <a:lnTo>
                    <a:pt x="15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90" name="Freeform 27"/>
            <p:cNvSpPr>
              <a:spLocks/>
            </p:cNvSpPr>
            <p:nvPr/>
          </p:nvSpPr>
          <p:spPr bwMode="auto">
            <a:xfrm>
              <a:off x="7669213" y="4357688"/>
              <a:ext cx="428625" cy="431800"/>
            </a:xfrm>
            <a:custGeom>
              <a:avLst/>
              <a:gdLst>
                <a:gd name="T0" fmla="*/ 97 w 113"/>
                <a:gd name="T1" fmla="*/ 16 h 113"/>
                <a:gd name="T2" fmla="*/ 88 w 113"/>
                <a:gd name="T3" fmla="*/ 16 h 113"/>
                <a:gd name="T4" fmla="*/ 84 w 113"/>
                <a:gd name="T5" fmla="*/ 20 h 113"/>
                <a:gd name="T6" fmla="*/ 75 w 113"/>
                <a:gd name="T7" fmla="*/ 0 h 113"/>
                <a:gd name="T8" fmla="*/ 45 w 113"/>
                <a:gd name="T9" fmla="*/ 31 h 113"/>
                <a:gd name="T10" fmla="*/ 53 w 113"/>
                <a:gd name="T11" fmla="*/ 51 h 113"/>
                <a:gd name="T12" fmla="*/ 2 w 113"/>
                <a:gd name="T13" fmla="*/ 102 h 113"/>
                <a:gd name="T14" fmla="*/ 2 w 113"/>
                <a:gd name="T15" fmla="*/ 111 h 113"/>
                <a:gd name="T16" fmla="*/ 11 w 113"/>
                <a:gd name="T17" fmla="*/ 111 h 113"/>
                <a:gd name="T18" fmla="*/ 63 w 113"/>
                <a:gd name="T19" fmla="*/ 60 h 113"/>
                <a:gd name="T20" fmla="*/ 82 w 113"/>
                <a:gd name="T21" fmla="*/ 68 h 113"/>
                <a:gd name="T22" fmla="*/ 113 w 113"/>
                <a:gd name="T23" fmla="*/ 38 h 113"/>
                <a:gd name="T24" fmla="*/ 93 w 113"/>
                <a:gd name="T25" fmla="*/ 29 h 113"/>
                <a:gd name="T26" fmla="*/ 97 w 113"/>
                <a:gd name="T27" fmla="*/ 25 h 113"/>
                <a:gd name="T28" fmla="*/ 97 w 113"/>
                <a:gd name="T2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113">
                  <a:moveTo>
                    <a:pt x="97" y="16"/>
                  </a:moveTo>
                  <a:cubicBezTo>
                    <a:pt x="95" y="13"/>
                    <a:pt x="91" y="13"/>
                    <a:pt x="88" y="16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0" y="104"/>
                    <a:pt x="0" y="108"/>
                    <a:pt x="2" y="111"/>
                  </a:cubicBezTo>
                  <a:cubicBezTo>
                    <a:pt x="5" y="113"/>
                    <a:pt x="9" y="113"/>
                    <a:pt x="11" y="111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100" y="22"/>
                    <a:pt x="100" y="18"/>
                    <a:pt x="9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91" name="Freeform 28"/>
            <p:cNvSpPr>
              <a:spLocks/>
            </p:cNvSpPr>
            <p:nvPr/>
          </p:nvSpPr>
          <p:spPr bwMode="auto">
            <a:xfrm>
              <a:off x="7527926" y="4613275"/>
              <a:ext cx="311150" cy="312737"/>
            </a:xfrm>
            <a:custGeom>
              <a:avLst/>
              <a:gdLst>
                <a:gd name="T0" fmla="*/ 55 w 82"/>
                <a:gd name="T1" fmla="*/ 50 h 82"/>
                <a:gd name="T2" fmla="*/ 33 w 82"/>
                <a:gd name="T3" fmla="*/ 50 h 82"/>
                <a:gd name="T4" fmla="*/ 33 w 82"/>
                <a:gd name="T5" fmla="*/ 28 h 82"/>
                <a:gd name="T6" fmla="*/ 58 w 82"/>
                <a:gd name="T7" fmla="*/ 4 h 82"/>
                <a:gd name="T8" fmla="*/ 41 w 82"/>
                <a:gd name="T9" fmla="*/ 0 h 82"/>
                <a:gd name="T10" fmla="*/ 0 w 82"/>
                <a:gd name="T11" fmla="*/ 41 h 82"/>
                <a:gd name="T12" fmla="*/ 41 w 82"/>
                <a:gd name="T13" fmla="*/ 82 h 82"/>
                <a:gd name="T14" fmla="*/ 82 w 82"/>
                <a:gd name="T15" fmla="*/ 41 h 82"/>
                <a:gd name="T16" fmla="*/ 79 w 82"/>
                <a:gd name="T17" fmla="*/ 26 h 82"/>
                <a:gd name="T18" fmla="*/ 55 w 82"/>
                <a:gd name="T19" fmla="*/ 5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55" y="50"/>
                  </a:moveTo>
                  <a:cubicBezTo>
                    <a:pt x="49" y="56"/>
                    <a:pt x="39" y="56"/>
                    <a:pt x="33" y="50"/>
                  </a:cubicBezTo>
                  <a:cubicBezTo>
                    <a:pt x="27" y="44"/>
                    <a:pt x="27" y="34"/>
                    <a:pt x="33" y="28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3" y="1"/>
                    <a:pt x="47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63"/>
                    <a:pt x="18" y="82"/>
                    <a:pt x="41" y="82"/>
                  </a:cubicBezTo>
                  <a:cubicBezTo>
                    <a:pt x="63" y="82"/>
                    <a:pt x="82" y="63"/>
                    <a:pt x="82" y="41"/>
                  </a:cubicBezTo>
                  <a:cubicBezTo>
                    <a:pt x="82" y="35"/>
                    <a:pt x="81" y="30"/>
                    <a:pt x="79" y="26"/>
                  </a:cubicBezTo>
                  <a:lnTo>
                    <a:pt x="55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7129582" y="4266157"/>
            <a:ext cx="2212465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40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Informes y accionables </a:t>
            </a:r>
            <a:endParaRPr lang="en-US" sz="140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97" name="Rectangle 96"/>
          <p:cNvSpPr>
            <a:spLocks noChangeArrowheads="1"/>
          </p:cNvSpPr>
          <p:nvPr/>
        </p:nvSpPr>
        <p:spPr bwMode="auto">
          <a:xfrm>
            <a:off x="7146925" y="4566504"/>
            <a:ext cx="24290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25500">
              <a:lnSpc>
                <a:spcPct val="100000"/>
              </a:lnSpc>
              <a:spcBef>
                <a:spcPts val="0"/>
              </a:spcBef>
            </a:pPr>
            <a:r>
              <a:rPr lang="es-MX" sz="1200" dirty="0"/>
              <a:t>Elaboración de informes de seguridad con recomendaciones claras y accionables para el equipo de desarrollo.</a:t>
            </a:r>
            <a:endParaRPr lang="es-CL" sz="1200" dirty="0">
              <a:solidFill>
                <a:srgbClr val="FFFFFF"/>
              </a:solidFill>
            </a:endParaRPr>
          </a:p>
        </p:txBody>
      </p:sp>
      <p:cxnSp>
        <p:nvCxnSpPr>
          <p:cNvPr id="98" name="Straight Connector 97"/>
          <p:cNvCxnSpPr>
            <a:cxnSpLocks/>
          </p:cNvCxnSpPr>
          <p:nvPr/>
        </p:nvCxnSpPr>
        <p:spPr>
          <a:xfrm>
            <a:off x="7146926" y="4564916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2139101" y="3569565"/>
            <a:ext cx="2840236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218406">
              <a:spcBef>
                <a:spcPts val="0"/>
              </a:spcBef>
            </a:pPr>
            <a:r>
              <a:rPr lang="en-US" sz="140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Integración con herramientas de Ciberseguridad</a:t>
            </a:r>
            <a:endParaRPr lang="en-US" sz="1400" b="1" dirty="0">
              <a:solidFill>
                <a:schemeClr val="accent2">
                  <a:lumMod val="49000"/>
                </a:schemeClr>
              </a:solidFill>
            </a:endParaRPr>
          </a:p>
        </p:txBody>
      </p:sp>
      <p:sp>
        <p:nvSpPr>
          <p:cNvPr id="100" name="Rectangle 99"/>
          <p:cNvSpPr>
            <a:spLocks noChangeArrowheads="1"/>
          </p:cNvSpPr>
          <p:nvPr/>
        </p:nvSpPr>
        <p:spPr bwMode="auto">
          <a:xfrm>
            <a:off x="1972086" y="4061293"/>
            <a:ext cx="302235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1200" dirty="0"/>
              <a:t>Incorporación de herramientas avanzadas de ciberseguridad y Pentesting, para mejorar la detección y mitigación de vulnerabilidades.</a:t>
            </a:r>
          </a:p>
        </p:txBody>
      </p: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3783807" y="4038919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2231116" y="4953478"/>
            <a:ext cx="2789377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MX" sz="140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Performance + Ciberseguridad</a:t>
            </a:r>
            <a:endParaRPr lang="en-US" sz="140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111" name="Rectangle 110"/>
          <p:cNvSpPr>
            <a:spLocks noChangeArrowheads="1"/>
          </p:cNvSpPr>
          <p:nvPr/>
        </p:nvSpPr>
        <p:spPr bwMode="auto">
          <a:xfrm>
            <a:off x="1885096" y="5300898"/>
            <a:ext cx="316780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defTabSz="825500">
              <a:lnSpc>
                <a:spcPct val="100000"/>
              </a:lnSpc>
              <a:spcBef>
                <a:spcPts val="0"/>
              </a:spcBef>
            </a:pPr>
            <a:r>
              <a:rPr lang="es-MX" sz="1200" dirty="0"/>
              <a:t>Utilizar el mismo requerimiento de performance para realizar un análisis de ciberseguridad en simultáneo, optimizando tiempo, recursos y costos.</a:t>
            </a:r>
            <a:endParaRPr lang="es-CL" sz="1200" dirty="0">
              <a:solidFill>
                <a:srgbClr val="FFFFFF"/>
              </a:solidFill>
            </a:endParaRPr>
          </a:p>
        </p:txBody>
      </p:sp>
      <p:cxnSp>
        <p:nvCxnSpPr>
          <p:cNvPr id="112" name="Straight Connector 111"/>
          <p:cNvCxnSpPr>
            <a:cxnSpLocks/>
          </p:cNvCxnSpPr>
          <p:nvPr/>
        </p:nvCxnSpPr>
        <p:spPr>
          <a:xfrm>
            <a:off x="3827463" y="5277703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reeform 30"/>
          <p:cNvSpPr>
            <a:spLocks noEditPoints="1"/>
          </p:cNvSpPr>
          <p:nvPr/>
        </p:nvSpPr>
        <p:spPr bwMode="auto">
          <a:xfrm>
            <a:off x="5075238" y="5091966"/>
            <a:ext cx="355600" cy="273050"/>
          </a:xfrm>
          <a:custGeom>
            <a:avLst/>
            <a:gdLst>
              <a:gd name="T0" fmla="*/ 113 w 128"/>
              <a:gd name="T1" fmla="*/ 0 h 98"/>
              <a:gd name="T2" fmla="*/ 98 w 128"/>
              <a:gd name="T3" fmla="*/ 15 h 98"/>
              <a:gd name="T4" fmla="*/ 103 w 128"/>
              <a:gd name="T5" fmla="*/ 26 h 98"/>
              <a:gd name="T6" fmla="*/ 84 w 128"/>
              <a:gd name="T7" fmla="*/ 54 h 98"/>
              <a:gd name="T8" fmla="*/ 79 w 128"/>
              <a:gd name="T9" fmla="*/ 52 h 98"/>
              <a:gd name="T10" fmla="*/ 66 w 128"/>
              <a:gd name="T11" fmla="*/ 60 h 98"/>
              <a:gd name="T12" fmla="*/ 55 w 128"/>
              <a:gd name="T13" fmla="*/ 54 h 98"/>
              <a:gd name="T14" fmla="*/ 56 w 128"/>
              <a:gd name="T15" fmla="*/ 49 h 98"/>
              <a:gd name="T16" fmla="*/ 41 w 128"/>
              <a:gd name="T17" fmla="*/ 34 h 98"/>
              <a:gd name="T18" fmla="*/ 26 w 128"/>
              <a:gd name="T19" fmla="*/ 49 h 98"/>
              <a:gd name="T20" fmla="*/ 31 w 128"/>
              <a:gd name="T21" fmla="*/ 60 h 98"/>
              <a:gd name="T22" fmla="*/ 23 w 128"/>
              <a:gd name="T23" fmla="*/ 70 h 98"/>
              <a:gd name="T24" fmla="*/ 15 w 128"/>
              <a:gd name="T25" fmla="*/ 68 h 98"/>
              <a:gd name="T26" fmla="*/ 0 w 128"/>
              <a:gd name="T27" fmla="*/ 83 h 98"/>
              <a:gd name="T28" fmla="*/ 15 w 128"/>
              <a:gd name="T29" fmla="*/ 98 h 98"/>
              <a:gd name="T30" fmla="*/ 30 w 128"/>
              <a:gd name="T31" fmla="*/ 83 h 98"/>
              <a:gd name="T32" fmla="*/ 26 w 128"/>
              <a:gd name="T33" fmla="*/ 73 h 98"/>
              <a:gd name="T34" fmla="*/ 34 w 128"/>
              <a:gd name="T35" fmla="*/ 62 h 98"/>
              <a:gd name="T36" fmla="*/ 41 w 128"/>
              <a:gd name="T37" fmla="*/ 64 h 98"/>
              <a:gd name="T38" fmla="*/ 53 w 128"/>
              <a:gd name="T39" fmla="*/ 57 h 98"/>
              <a:gd name="T40" fmla="*/ 64 w 128"/>
              <a:gd name="T41" fmla="*/ 64 h 98"/>
              <a:gd name="T42" fmla="*/ 64 w 128"/>
              <a:gd name="T43" fmla="*/ 68 h 98"/>
              <a:gd name="T44" fmla="*/ 79 w 128"/>
              <a:gd name="T45" fmla="*/ 83 h 98"/>
              <a:gd name="T46" fmla="*/ 94 w 128"/>
              <a:gd name="T47" fmla="*/ 68 h 98"/>
              <a:gd name="T48" fmla="*/ 88 w 128"/>
              <a:gd name="T49" fmla="*/ 56 h 98"/>
              <a:gd name="T50" fmla="*/ 106 w 128"/>
              <a:gd name="T51" fmla="*/ 28 h 98"/>
              <a:gd name="T52" fmla="*/ 113 w 128"/>
              <a:gd name="T53" fmla="*/ 30 h 98"/>
              <a:gd name="T54" fmla="*/ 128 w 128"/>
              <a:gd name="T55" fmla="*/ 15 h 98"/>
              <a:gd name="T56" fmla="*/ 113 w 128"/>
              <a:gd name="T57" fmla="*/ 0 h 98"/>
              <a:gd name="T58" fmla="*/ 15 w 128"/>
              <a:gd name="T59" fmla="*/ 90 h 98"/>
              <a:gd name="T60" fmla="*/ 7 w 128"/>
              <a:gd name="T61" fmla="*/ 83 h 98"/>
              <a:gd name="T62" fmla="*/ 15 w 128"/>
              <a:gd name="T63" fmla="*/ 75 h 98"/>
              <a:gd name="T64" fmla="*/ 22 w 128"/>
              <a:gd name="T65" fmla="*/ 83 h 98"/>
              <a:gd name="T66" fmla="*/ 15 w 128"/>
              <a:gd name="T67" fmla="*/ 90 h 98"/>
              <a:gd name="T68" fmla="*/ 41 w 128"/>
              <a:gd name="T69" fmla="*/ 56 h 98"/>
              <a:gd name="T70" fmla="*/ 34 w 128"/>
              <a:gd name="T71" fmla="*/ 49 h 98"/>
              <a:gd name="T72" fmla="*/ 41 w 128"/>
              <a:gd name="T73" fmla="*/ 41 h 98"/>
              <a:gd name="T74" fmla="*/ 49 w 128"/>
              <a:gd name="T75" fmla="*/ 49 h 98"/>
              <a:gd name="T76" fmla="*/ 41 w 128"/>
              <a:gd name="T77" fmla="*/ 56 h 98"/>
              <a:gd name="T78" fmla="*/ 79 w 128"/>
              <a:gd name="T79" fmla="*/ 75 h 98"/>
              <a:gd name="T80" fmla="*/ 71 w 128"/>
              <a:gd name="T81" fmla="*/ 68 h 98"/>
              <a:gd name="T82" fmla="*/ 79 w 128"/>
              <a:gd name="T83" fmla="*/ 60 h 98"/>
              <a:gd name="T84" fmla="*/ 86 w 128"/>
              <a:gd name="T85" fmla="*/ 68 h 98"/>
              <a:gd name="T86" fmla="*/ 79 w 128"/>
              <a:gd name="T87" fmla="*/ 75 h 98"/>
              <a:gd name="T88" fmla="*/ 113 w 128"/>
              <a:gd name="T89" fmla="*/ 22 h 98"/>
              <a:gd name="T90" fmla="*/ 105 w 128"/>
              <a:gd name="T91" fmla="*/ 15 h 98"/>
              <a:gd name="T92" fmla="*/ 113 w 128"/>
              <a:gd name="T93" fmla="*/ 7 h 98"/>
              <a:gd name="T94" fmla="*/ 120 w 128"/>
              <a:gd name="T95" fmla="*/ 15 h 98"/>
              <a:gd name="T96" fmla="*/ 113 w 128"/>
              <a:gd name="T97" fmla="*/ 22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8" h="98">
                <a:moveTo>
                  <a:pt x="113" y="0"/>
                </a:moveTo>
                <a:cubicBezTo>
                  <a:pt x="104" y="0"/>
                  <a:pt x="98" y="7"/>
                  <a:pt x="98" y="15"/>
                </a:cubicBezTo>
                <a:cubicBezTo>
                  <a:pt x="98" y="19"/>
                  <a:pt x="100" y="23"/>
                  <a:pt x="103" y="26"/>
                </a:cubicBezTo>
                <a:cubicBezTo>
                  <a:pt x="84" y="54"/>
                  <a:pt x="84" y="54"/>
                  <a:pt x="84" y="54"/>
                </a:cubicBezTo>
                <a:cubicBezTo>
                  <a:pt x="83" y="53"/>
                  <a:pt x="81" y="52"/>
                  <a:pt x="79" y="52"/>
                </a:cubicBezTo>
                <a:cubicBezTo>
                  <a:pt x="73" y="52"/>
                  <a:pt x="68" y="56"/>
                  <a:pt x="66" y="60"/>
                </a:cubicBezTo>
                <a:cubicBezTo>
                  <a:pt x="55" y="54"/>
                  <a:pt x="55" y="54"/>
                  <a:pt x="55" y="54"/>
                </a:cubicBezTo>
                <a:cubicBezTo>
                  <a:pt x="56" y="53"/>
                  <a:pt x="56" y="51"/>
                  <a:pt x="56" y="49"/>
                </a:cubicBezTo>
                <a:cubicBezTo>
                  <a:pt x="56" y="40"/>
                  <a:pt x="49" y="34"/>
                  <a:pt x="41" y="34"/>
                </a:cubicBezTo>
                <a:cubicBezTo>
                  <a:pt x="33" y="34"/>
                  <a:pt x="26" y="40"/>
                  <a:pt x="26" y="49"/>
                </a:cubicBezTo>
                <a:cubicBezTo>
                  <a:pt x="26" y="53"/>
                  <a:pt x="28" y="57"/>
                  <a:pt x="31" y="60"/>
                </a:cubicBezTo>
                <a:cubicBezTo>
                  <a:pt x="23" y="70"/>
                  <a:pt x="23" y="70"/>
                  <a:pt x="23" y="70"/>
                </a:cubicBezTo>
                <a:cubicBezTo>
                  <a:pt x="21" y="69"/>
                  <a:pt x="18" y="68"/>
                  <a:pt x="15" y="68"/>
                </a:cubicBezTo>
                <a:cubicBezTo>
                  <a:pt x="6" y="68"/>
                  <a:pt x="0" y="74"/>
                  <a:pt x="0" y="83"/>
                </a:cubicBezTo>
                <a:cubicBezTo>
                  <a:pt x="0" y="91"/>
                  <a:pt x="6" y="98"/>
                  <a:pt x="15" y="98"/>
                </a:cubicBezTo>
                <a:cubicBezTo>
                  <a:pt x="23" y="98"/>
                  <a:pt x="30" y="91"/>
                  <a:pt x="30" y="83"/>
                </a:cubicBezTo>
                <a:cubicBezTo>
                  <a:pt x="30" y="79"/>
                  <a:pt x="28" y="76"/>
                  <a:pt x="26" y="73"/>
                </a:cubicBezTo>
                <a:cubicBezTo>
                  <a:pt x="34" y="62"/>
                  <a:pt x="34" y="62"/>
                  <a:pt x="34" y="62"/>
                </a:cubicBezTo>
                <a:cubicBezTo>
                  <a:pt x="36" y="63"/>
                  <a:pt x="39" y="64"/>
                  <a:pt x="41" y="64"/>
                </a:cubicBezTo>
                <a:cubicBezTo>
                  <a:pt x="46" y="64"/>
                  <a:pt x="51" y="61"/>
                  <a:pt x="53" y="57"/>
                </a:cubicBezTo>
                <a:cubicBezTo>
                  <a:pt x="64" y="64"/>
                  <a:pt x="64" y="64"/>
                  <a:pt x="64" y="64"/>
                </a:cubicBezTo>
                <a:cubicBezTo>
                  <a:pt x="64" y="65"/>
                  <a:pt x="64" y="66"/>
                  <a:pt x="64" y="68"/>
                </a:cubicBezTo>
                <a:cubicBezTo>
                  <a:pt x="64" y="76"/>
                  <a:pt x="70" y="83"/>
                  <a:pt x="79" y="83"/>
                </a:cubicBezTo>
                <a:cubicBezTo>
                  <a:pt x="87" y="83"/>
                  <a:pt x="94" y="76"/>
                  <a:pt x="94" y="68"/>
                </a:cubicBezTo>
                <a:cubicBezTo>
                  <a:pt x="94" y="63"/>
                  <a:pt x="91" y="58"/>
                  <a:pt x="88" y="56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8" y="29"/>
                  <a:pt x="110" y="30"/>
                  <a:pt x="113" y="30"/>
                </a:cubicBezTo>
                <a:cubicBezTo>
                  <a:pt x="121" y="30"/>
                  <a:pt x="128" y="23"/>
                  <a:pt x="128" y="15"/>
                </a:cubicBezTo>
                <a:cubicBezTo>
                  <a:pt x="128" y="7"/>
                  <a:pt x="121" y="0"/>
                  <a:pt x="113" y="0"/>
                </a:cubicBezTo>
                <a:close/>
                <a:moveTo>
                  <a:pt x="15" y="90"/>
                </a:moveTo>
                <a:cubicBezTo>
                  <a:pt x="11" y="90"/>
                  <a:pt x="7" y="87"/>
                  <a:pt x="7" y="83"/>
                </a:cubicBezTo>
                <a:cubicBezTo>
                  <a:pt x="7" y="78"/>
                  <a:pt x="11" y="75"/>
                  <a:pt x="15" y="75"/>
                </a:cubicBezTo>
                <a:cubicBezTo>
                  <a:pt x="19" y="75"/>
                  <a:pt x="22" y="78"/>
                  <a:pt x="22" y="83"/>
                </a:cubicBezTo>
                <a:cubicBezTo>
                  <a:pt x="22" y="87"/>
                  <a:pt x="19" y="90"/>
                  <a:pt x="15" y="90"/>
                </a:cubicBezTo>
                <a:close/>
                <a:moveTo>
                  <a:pt x="41" y="56"/>
                </a:moveTo>
                <a:cubicBezTo>
                  <a:pt x="37" y="56"/>
                  <a:pt x="34" y="53"/>
                  <a:pt x="34" y="49"/>
                </a:cubicBezTo>
                <a:cubicBezTo>
                  <a:pt x="34" y="45"/>
                  <a:pt x="37" y="41"/>
                  <a:pt x="41" y="41"/>
                </a:cubicBezTo>
                <a:cubicBezTo>
                  <a:pt x="45" y="41"/>
                  <a:pt x="49" y="45"/>
                  <a:pt x="49" y="49"/>
                </a:cubicBezTo>
                <a:cubicBezTo>
                  <a:pt x="49" y="53"/>
                  <a:pt x="45" y="56"/>
                  <a:pt x="41" y="56"/>
                </a:cubicBezTo>
                <a:close/>
                <a:moveTo>
                  <a:pt x="79" y="75"/>
                </a:moveTo>
                <a:cubicBezTo>
                  <a:pt x="75" y="75"/>
                  <a:pt x="71" y="72"/>
                  <a:pt x="71" y="68"/>
                </a:cubicBezTo>
                <a:cubicBezTo>
                  <a:pt x="71" y="63"/>
                  <a:pt x="75" y="60"/>
                  <a:pt x="79" y="60"/>
                </a:cubicBezTo>
                <a:cubicBezTo>
                  <a:pt x="83" y="60"/>
                  <a:pt x="86" y="63"/>
                  <a:pt x="86" y="68"/>
                </a:cubicBezTo>
                <a:cubicBezTo>
                  <a:pt x="86" y="72"/>
                  <a:pt x="83" y="75"/>
                  <a:pt x="79" y="75"/>
                </a:cubicBezTo>
                <a:close/>
                <a:moveTo>
                  <a:pt x="113" y="22"/>
                </a:moveTo>
                <a:cubicBezTo>
                  <a:pt x="108" y="22"/>
                  <a:pt x="105" y="19"/>
                  <a:pt x="105" y="15"/>
                </a:cubicBezTo>
                <a:cubicBezTo>
                  <a:pt x="105" y="11"/>
                  <a:pt x="108" y="7"/>
                  <a:pt x="113" y="7"/>
                </a:cubicBezTo>
                <a:cubicBezTo>
                  <a:pt x="117" y="7"/>
                  <a:pt x="120" y="11"/>
                  <a:pt x="120" y="15"/>
                </a:cubicBezTo>
                <a:cubicBezTo>
                  <a:pt x="120" y="19"/>
                  <a:pt x="117" y="22"/>
                  <a:pt x="113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400"/>
          </a:p>
        </p:txBody>
      </p:sp>
      <p:sp>
        <p:nvSpPr>
          <p:cNvPr id="75" name="Título 11"/>
          <p:cNvSpPr txBox="1">
            <a:spLocks/>
          </p:cNvSpPr>
          <p:nvPr/>
        </p:nvSpPr>
        <p:spPr>
          <a:xfrm>
            <a:off x="1478183" y="1111090"/>
            <a:ext cx="8583987" cy="81591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2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8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4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altLang="es-CL" sz="2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Para este proyecto, </a:t>
            </a:r>
            <a:r>
              <a:rPr lang="es-MX" altLang="es-CL" sz="20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consideramos la implementación de</a:t>
            </a:r>
            <a:r>
              <a:rPr lang="es-MX" altLang="es-CL" sz="2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s-MX" altLang="es-CL" sz="2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inco quick wins en ciberseguridad:</a:t>
            </a:r>
            <a:endParaRPr lang="es-CL" altLang="es-CL" sz="20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76" name="Group 197"/>
          <p:cNvGrpSpPr/>
          <p:nvPr/>
        </p:nvGrpSpPr>
        <p:grpSpPr>
          <a:xfrm>
            <a:off x="6714195" y="4303796"/>
            <a:ext cx="329804" cy="375047"/>
            <a:chOff x="9805987" y="1155701"/>
            <a:chExt cx="439738" cy="500062"/>
          </a:xfrm>
          <a:solidFill>
            <a:schemeClr val="accent1"/>
          </a:solidFill>
        </p:grpSpPr>
        <p:sp>
          <p:nvSpPr>
            <p:cNvPr id="77" name="Freeform 108"/>
            <p:cNvSpPr>
              <a:spLocks noEditPoints="1"/>
            </p:cNvSpPr>
            <p:nvPr/>
          </p:nvSpPr>
          <p:spPr bwMode="auto">
            <a:xfrm>
              <a:off x="9899650" y="1155701"/>
              <a:ext cx="252413" cy="125413"/>
            </a:xfrm>
            <a:custGeom>
              <a:avLst/>
              <a:gdLst>
                <a:gd name="T0" fmla="*/ 32 w 32"/>
                <a:gd name="T1" fmla="*/ 8 h 16"/>
                <a:gd name="T2" fmla="*/ 24 w 32"/>
                <a:gd name="T3" fmla="*/ 8 h 16"/>
                <a:gd name="T4" fmla="*/ 16 w 32"/>
                <a:gd name="T5" fmla="*/ 0 h 16"/>
                <a:gd name="T6" fmla="*/ 8 w 32"/>
                <a:gd name="T7" fmla="*/ 8 h 16"/>
                <a:gd name="T8" fmla="*/ 0 w 32"/>
                <a:gd name="T9" fmla="*/ 8 h 16"/>
                <a:gd name="T10" fmla="*/ 0 w 32"/>
                <a:gd name="T11" fmla="*/ 16 h 16"/>
                <a:gd name="T12" fmla="*/ 32 w 32"/>
                <a:gd name="T13" fmla="*/ 16 h 16"/>
                <a:gd name="T14" fmla="*/ 32 w 32"/>
                <a:gd name="T15" fmla="*/ 8 h 16"/>
                <a:gd name="T16" fmla="*/ 16 w 32"/>
                <a:gd name="T17" fmla="*/ 12 h 16"/>
                <a:gd name="T18" fmla="*/ 12 w 32"/>
                <a:gd name="T19" fmla="*/ 8 h 16"/>
                <a:gd name="T20" fmla="*/ 16 w 32"/>
                <a:gd name="T21" fmla="*/ 4 h 16"/>
                <a:gd name="T22" fmla="*/ 20 w 32"/>
                <a:gd name="T23" fmla="*/ 8 h 16"/>
                <a:gd name="T24" fmla="*/ 16 w 32"/>
                <a:gd name="T2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6">
                  <a:moveTo>
                    <a:pt x="32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20" y="0"/>
                    <a:pt x="16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2" y="16"/>
                    <a:pt x="32" y="16"/>
                    <a:pt x="32" y="16"/>
                  </a:cubicBezTo>
                  <a:lnTo>
                    <a:pt x="32" y="8"/>
                  </a:lnTo>
                  <a:close/>
                  <a:moveTo>
                    <a:pt x="16" y="12"/>
                  </a:moveTo>
                  <a:cubicBezTo>
                    <a:pt x="14" y="12"/>
                    <a:pt x="12" y="10"/>
                    <a:pt x="12" y="8"/>
                  </a:cubicBezTo>
                  <a:cubicBezTo>
                    <a:pt x="12" y="6"/>
                    <a:pt x="14" y="4"/>
                    <a:pt x="16" y="4"/>
                  </a:cubicBezTo>
                  <a:cubicBezTo>
                    <a:pt x="18" y="4"/>
                    <a:pt x="20" y="6"/>
                    <a:pt x="20" y="8"/>
                  </a:cubicBezTo>
                  <a:cubicBezTo>
                    <a:pt x="20" y="10"/>
                    <a:pt x="18" y="12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  <p:sp>
          <p:nvSpPr>
            <p:cNvPr id="92" name="Freeform 109"/>
            <p:cNvSpPr>
              <a:spLocks noEditPoints="1"/>
            </p:cNvSpPr>
            <p:nvPr/>
          </p:nvSpPr>
          <p:spPr bwMode="auto">
            <a:xfrm>
              <a:off x="9805987" y="1217613"/>
              <a:ext cx="439738" cy="438150"/>
            </a:xfrm>
            <a:custGeom>
              <a:avLst/>
              <a:gdLst>
                <a:gd name="T0" fmla="*/ 237 w 277"/>
                <a:gd name="T1" fmla="*/ 0 h 276"/>
                <a:gd name="T2" fmla="*/ 237 w 277"/>
                <a:gd name="T3" fmla="*/ 59 h 276"/>
                <a:gd name="T4" fmla="*/ 40 w 277"/>
                <a:gd name="T5" fmla="*/ 59 h 276"/>
                <a:gd name="T6" fmla="*/ 40 w 277"/>
                <a:gd name="T7" fmla="*/ 0 h 276"/>
                <a:gd name="T8" fmla="*/ 0 w 277"/>
                <a:gd name="T9" fmla="*/ 0 h 276"/>
                <a:gd name="T10" fmla="*/ 0 w 277"/>
                <a:gd name="T11" fmla="*/ 276 h 276"/>
                <a:gd name="T12" fmla="*/ 277 w 277"/>
                <a:gd name="T13" fmla="*/ 276 h 276"/>
                <a:gd name="T14" fmla="*/ 277 w 277"/>
                <a:gd name="T15" fmla="*/ 0 h 276"/>
                <a:gd name="T16" fmla="*/ 237 w 277"/>
                <a:gd name="T17" fmla="*/ 0 h 276"/>
                <a:gd name="T18" fmla="*/ 129 w 277"/>
                <a:gd name="T19" fmla="*/ 232 h 276"/>
                <a:gd name="T20" fmla="*/ 114 w 277"/>
                <a:gd name="T21" fmla="*/ 222 h 276"/>
                <a:gd name="T22" fmla="*/ 59 w 277"/>
                <a:gd name="T23" fmla="*/ 163 h 276"/>
                <a:gd name="T24" fmla="*/ 89 w 277"/>
                <a:gd name="T25" fmla="*/ 138 h 276"/>
                <a:gd name="T26" fmla="*/ 129 w 277"/>
                <a:gd name="T27" fmla="*/ 178 h 276"/>
                <a:gd name="T28" fmla="*/ 208 w 277"/>
                <a:gd name="T29" fmla="*/ 99 h 276"/>
                <a:gd name="T30" fmla="*/ 237 w 277"/>
                <a:gd name="T31" fmla="*/ 128 h 276"/>
                <a:gd name="T32" fmla="*/ 129 w 277"/>
                <a:gd name="T33" fmla="*/ 23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6">
                  <a:moveTo>
                    <a:pt x="237" y="0"/>
                  </a:moveTo>
                  <a:lnTo>
                    <a:pt x="237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76"/>
                  </a:lnTo>
                  <a:lnTo>
                    <a:pt x="277" y="276"/>
                  </a:lnTo>
                  <a:lnTo>
                    <a:pt x="277" y="0"/>
                  </a:lnTo>
                  <a:lnTo>
                    <a:pt x="237" y="0"/>
                  </a:lnTo>
                  <a:close/>
                  <a:moveTo>
                    <a:pt x="129" y="232"/>
                  </a:moveTo>
                  <a:lnTo>
                    <a:pt x="114" y="222"/>
                  </a:lnTo>
                  <a:lnTo>
                    <a:pt x="59" y="163"/>
                  </a:lnTo>
                  <a:lnTo>
                    <a:pt x="89" y="138"/>
                  </a:lnTo>
                  <a:lnTo>
                    <a:pt x="129" y="178"/>
                  </a:lnTo>
                  <a:lnTo>
                    <a:pt x="208" y="99"/>
                  </a:lnTo>
                  <a:lnTo>
                    <a:pt x="237" y="128"/>
                  </a:lnTo>
                  <a:lnTo>
                    <a:pt x="129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400"/>
            </a:p>
          </p:txBody>
        </p:sp>
      </p:grpSp>
      <p:grpSp>
        <p:nvGrpSpPr>
          <p:cNvPr id="93" name="Group 30"/>
          <p:cNvGrpSpPr/>
          <p:nvPr/>
        </p:nvGrpSpPr>
        <p:grpSpPr>
          <a:xfrm>
            <a:off x="5020885" y="3776530"/>
            <a:ext cx="418861" cy="399603"/>
            <a:chOff x="4849813" y="501081"/>
            <a:chExt cx="1104900" cy="1054100"/>
          </a:xfrm>
          <a:solidFill>
            <a:schemeClr val="bg2">
              <a:lumMod val="50000"/>
            </a:schemeClr>
          </a:solidFill>
        </p:grpSpPr>
        <p:sp>
          <p:nvSpPr>
            <p:cNvPr id="94" name="Freeform 5"/>
            <p:cNvSpPr>
              <a:spLocks noEditPoints="1"/>
            </p:cNvSpPr>
            <p:nvPr/>
          </p:nvSpPr>
          <p:spPr bwMode="auto">
            <a:xfrm>
              <a:off x="4849813" y="501081"/>
              <a:ext cx="1104900" cy="1054100"/>
            </a:xfrm>
            <a:custGeom>
              <a:avLst/>
              <a:gdLst>
                <a:gd name="T0" fmla="*/ 482 w 526"/>
                <a:gd name="T1" fmla="*/ 0 h 502"/>
                <a:gd name="T2" fmla="*/ 44 w 526"/>
                <a:gd name="T3" fmla="*/ 0 h 502"/>
                <a:gd name="T4" fmla="*/ 0 w 526"/>
                <a:gd name="T5" fmla="*/ 45 h 502"/>
                <a:gd name="T6" fmla="*/ 0 w 526"/>
                <a:gd name="T7" fmla="*/ 384 h 502"/>
                <a:gd name="T8" fmla="*/ 44 w 526"/>
                <a:gd name="T9" fmla="*/ 428 h 502"/>
                <a:gd name="T10" fmla="*/ 177 w 526"/>
                <a:gd name="T11" fmla="*/ 428 h 502"/>
                <a:gd name="T12" fmla="*/ 154 w 526"/>
                <a:gd name="T13" fmla="*/ 454 h 502"/>
                <a:gd name="T14" fmla="*/ 141 w 526"/>
                <a:gd name="T15" fmla="*/ 467 h 502"/>
                <a:gd name="T16" fmla="*/ 140 w 526"/>
                <a:gd name="T17" fmla="*/ 487 h 502"/>
                <a:gd name="T18" fmla="*/ 173 w 526"/>
                <a:gd name="T19" fmla="*/ 502 h 502"/>
                <a:gd name="T20" fmla="*/ 352 w 526"/>
                <a:gd name="T21" fmla="*/ 502 h 502"/>
                <a:gd name="T22" fmla="*/ 386 w 526"/>
                <a:gd name="T23" fmla="*/ 487 h 502"/>
                <a:gd name="T24" fmla="*/ 384 w 526"/>
                <a:gd name="T25" fmla="*/ 467 h 502"/>
                <a:gd name="T26" fmla="*/ 372 w 526"/>
                <a:gd name="T27" fmla="*/ 453 h 502"/>
                <a:gd name="T28" fmla="*/ 348 w 526"/>
                <a:gd name="T29" fmla="*/ 428 h 502"/>
                <a:gd name="T30" fmla="*/ 482 w 526"/>
                <a:gd name="T31" fmla="*/ 428 h 502"/>
                <a:gd name="T32" fmla="*/ 526 w 526"/>
                <a:gd name="T33" fmla="*/ 384 h 502"/>
                <a:gd name="T34" fmla="*/ 526 w 526"/>
                <a:gd name="T35" fmla="*/ 45 h 502"/>
                <a:gd name="T36" fmla="*/ 482 w 526"/>
                <a:gd name="T37" fmla="*/ 0 h 502"/>
                <a:gd name="T38" fmla="*/ 360 w 526"/>
                <a:gd name="T39" fmla="*/ 465 h 502"/>
                <a:gd name="T40" fmla="*/ 371 w 526"/>
                <a:gd name="T41" fmla="*/ 476 h 502"/>
                <a:gd name="T42" fmla="*/ 371 w 526"/>
                <a:gd name="T43" fmla="*/ 480 h 502"/>
                <a:gd name="T44" fmla="*/ 352 w 526"/>
                <a:gd name="T45" fmla="*/ 485 h 502"/>
                <a:gd name="T46" fmla="*/ 173 w 526"/>
                <a:gd name="T47" fmla="*/ 485 h 502"/>
                <a:gd name="T48" fmla="*/ 155 w 526"/>
                <a:gd name="T49" fmla="*/ 480 h 502"/>
                <a:gd name="T50" fmla="*/ 154 w 526"/>
                <a:gd name="T51" fmla="*/ 476 h 502"/>
                <a:gd name="T52" fmla="*/ 154 w 526"/>
                <a:gd name="T53" fmla="*/ 477 h 502"/>
                <a:gd name="T54" fmla="*/ 165 w 526"/>
                <a:gd name="T55" fmla="*/ 465 h 502"/>
                <a:gd name="T56" fmla="*/ 196 w 526"/>
                <a:gd name="T57" fmla="*/ 428 h 502"/>
                <a:gd name="T58" fmla="*/ 329 w 526"/>
                <a:gd name="T59" fmla="*/ 428 h 502"/>
                <a:gd name="T60" fmla="*/ 360 w 526"/>
                <a:gd name="T61" fmla="*/ 465 h 502"/>
                <a:gd name="T62" fmla="*/ 493 w 526"/>
                <a:gd name="T63" fmla="*/ 384 h 502"/>
                <a:gd name="T64" fmla="*/ 482 w 526"/>
                <a:gd name="T65" fmla="*/ 395 h 502"/>
                <a:gd name="T66" fmla="*/ 44 w 526"/>
                <a:gd name="T67" fmla="*/ 395 h 502"/>
                <a:gd name="T68" fmla="*/ 32 w 526"/>
                <a:gd name="T69" fmla="*/ 384 h 502"/>
                <a:gd name="T70" fmla="*/ 32 w 526"/>
                <a:gd name="T71" fmla="*/ 45 h 502"/>
                <a:gd name="T72" fmla="*/ 44 w 526"/>
                <a:gd name="T73" fmla="*/ 33 h 502"/>
                <a:gd name="T74" fmla="*/ 482 w 526"/>
                <a:gd name="T75" fmla="*/ 33 h 502"/>
                <a:gd name="T76" fmla="*/ 493 w 526"/>
                <a:gd name="T77" fmla="*/ 45 h 502"/>
                <a:gd name="T78" fmla="*/ 493 w 526"/>
                <a:gd name="T79" fmla="*/ 384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6" h="502">
                  <a:moveTo>
                    <a:pt x="482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08"/>
                    <a:pt x="19" y="428"/>
                    <a:pt x="44" y="428"/>
                  </a:cubicBezTo>
                  <a:cubicBezTo>
                    <a:pt x="177" y="428"/>
                    <a:pt x="177" y="428"/>
                    <a:pt x="177" y="428"/>
                  </a:cubicBezTo>
                  <a:cubicBezTo>
                    <a:pt x="170" y="437"/>
                    <a:pt x="159" y="448"/>
                    <a:pt x="154" y="454"/>
                  </a:cubicBezTo>
                  <a:cubicBezTo>
                    <a:pt x="148" y="459"/>
                    <a:pt x="144" y="463"/>
                    <a:pt x="141" y="467"/>
                  </a:cubicBezTo>
                  <a:cubicBezTo>
                    <a:pt x="138" y="471"/>
                    <a:pt x="136" y="480"/>
                    <a:pt x="140" y="487"/>
                  </a:cubicBezTo>
                  <a:cubicBezTo>
                    <a:pt x="144" y="494"/>
                    <a:pt x="152" y="502"/>
                    <a:pt x="173" y="502"/>
                  </a:cubicBezTo>
                  <a:cubicBezTo>
                    <a:pt x="352" y="502"/>
                    <a:pt x="352" y="502"/>
                    <a:pt x="352" y="502"/>
                  </a:cubicBezTo>
                  <a:cubicBezTo>
                    <a:pt x="374" y="502"/>
                    <a:pt x="382" y="494"/>
                    <a:pt x="386" y="487"/>
                  </a:cubicBezTo>
                  <a:cubicBezTo>
                    <a:pt x="389" y="480"/>
                    <a:pt x="388" y="471"/>
                    <a:pt x="384" y="467"/>
                  </a:cubicBezTo>
                  <a:cubicBezTo>
                    <a:pt x="382" y="463"/>
                    <a:pt x="378" y="459"/>
                    <a:pt x="372" y="453"/>
                  </a:cubicBezTo>
                  <a:cubicBezTo>
                    <a:pt x="367" y="448"/>
                    <a:pt x="355" y="437"/>
                    <a:pt x="348" y="428"/>
                  </a:cubicBezTo>
                  <a:cubicBezTo>
                    <a:pt x="482" y="428"/>
                    <a:pt x="482" y="428"/>
                    <a:pt x="482" y="428"/>
                  </a:cubicBezTo>
                  <a:cubicBezTo>
                    <a:pt x="506" y="428"/>
                    <a:pt x="526" y="408"/>
                    <a:pt x="526" y="384"/>
                  </a:cubicBezTo>
                  <a:cubicBezTo>
                    <a:pt x="526" y="45"/>
                    <a:pt x="526" y="45"/>
                    <a:pt x="526" y="45"/>
                  </a:cubicBezTo>
                  <a:cubicBezTo>
                    <a:pt x="526" y="20"/>
                    <a:pt x="506" y="0"/>
                    <a:pt x="482" y="0"/>
                  </a:cubicBezTo>
                  <a:close/>
                  <a:moveTo>
                    <a:pt x="360" y="465"/>
                  </a:moveTo>
                  <a:cubicBezTo>
                    <a:pt x="365" y="470"/>
                    <a:pt x="370" y="474"/>
                    <a:pt x="371" y="476"/>
                  </a:cubicBezTo>
                  <a:cubicBezTo>
                    <a:pt x="371" y="476"/>
                    <a:pt x="372" y="478"/>
                    <a:pt x="371" y="480"/>
                  </a:cubicBezTo>
                  <a:cubicBezTo>
                    <a:pt x="368" y="483"/>
                    <a:pt x="362" y="485"/>
                    <a:pt x="352" y="485"/>
                  </a:cubicBezTo>
                  <a:cubicBezTo>
                    <a:pt x="173" y="485"/>
                    <a:pt x="173" y="485"/>
                    <a:pt x="173" y="485"/>
                  </a:cubicBezTo>
                  <a:cubicBezTo>
                    <a:pt x="164" y="485"/>
                    <a:pt x="157" y="483"/>
                    <a:pt x="155" y="480"/>
                  </a:cubicBezTo>
                  <a:cubicBezTo>
                    <a:pt x="154" y="478"/>
                    <a:pt x="155" y="476"/>
                    <a:pt x="154" y="476"/>
                  </a:cubicBezTo>
                  <a:cubicBezTo>
                    <a:pt x="154" y="476"/>
                    <a:pt x="154" y="476"/>
                    <a:pt x="154" y="477"/>
                  </a:cubicBezTo>
                  <a:cubicBezTo>
                    <a:pt x="156" y="474"/>
                    <a:pt x="161" y="470"/>
                    <a:pt x="165" y="465"/>
                  </a:cubicBezTo>
                  <a:cubicBezTo>
                    <a:pt x="180" y="451"/>
                    <a:pt x="191" y="439"/>
                    <a:pt x="196" y="428"/>
                  </a:cubicBezTo>
                  <a:cubicBezTo>
                    <a:pt x="329" y="428"/>
                    <a:pt x="329" y="428"/>
                    <a:pt x="329" y="428"/>
                  </a:cubicBezTo>
                  <a:cubicBezTo>
                    <a:pt x="334" y="439"/>
                    <a:pt x="346" y="451"/>
                    <a:pt x="360" y="465"/>
                  </a:cubicBezTo>
                  <a:close/>
                  <a:moveTo>
                    <a:pt x="493" y="384"/>
                  </a:moveTo>
                  <a:cubicBezTo>
                    <a:pt x="493" y="390"/>
                    <a:pt x="488" y="395"/>
                    <a:pt x="482" y="395"/>
                  </a:cubicBezTo>
                  <a:cubicBezTo>
                    <a:pt x="44" y="395"/>
                    <a:pt x="44" y="395"/>
                    <a:pt x="44" y="395"/>
                  </a:cubicBezTo>
                  <a:cubicBezTo>
                    <a:pt x="38" y="395"/>
                    <a:pt x="32" y="390"/>
                    <a:pt x="32" y="384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38"/>
                    <a:pt x="38" y="33"/>
                    <a:pt x="44" y="33"/>
                  </a:cubicBezTo>
                  <a:cubicBezTo>
                    <a:pt x="482" y="33"/>
                    <a:pt x="482" y="33"/>
                    <a:pt x="482" y="33"/>
                  </a:cubicBezTo>
                  <a:cubicBezTo>
                    <a:pt x="488" y="33"/>
                    <a:pt x="493" y="38"/>
                    <a:pt x="493" y="45"/>
                  </a:cubicBezTo>
                  <a:lnTo>
                    <a:pt x="493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  <p:sp>
          <p:nvSpPr>
            <p:cNvPr id="95" name="Freeform 6"/>
            <p:cNvSpPr>
              <a:spLocks noEditPoints="1"/>
            </p:cNvSpPr>
            <p:nvPr/>
          </p:nvSpPr>
          <p:spPr bwMode="auto">
            <a:xfrm>
              <a:off x="4986338" y="640781"/>
              <a:ext cx="828675" cy="552450"/>
            </a:xfrm>
            <a:custGeom>
              <a:avLst/>
              <a:gdLst>
                <a:gd name="T0" fmla="*/ 367 w 395"/>
                <a:gd name="T1" fmla="*/ 0 h 264"/>
                <a:gd name="T2" fmla="*/ 28 w 395"/>
                <a:gd name="T3" fmla="*/ 0 h 264"/>
                <a:gd name="T4" fmla="*/ 0 w 395"/>
                <a:gd name="T5" fmla="*/ 28 h 264"/>
                <a:gd name="T6" fmla="*/ 0 w 395"/>
                <a:gd name="T7" fmla="*/ 236 h 264"/>
                <a:gd name="T8" fmla="*/ 28 w 395"/>
                <a:gd name="T9" fmla="*/ 264 h 264"/>
                <a:gd name="T10" fmla="*/ 367 w 395"/>
                <a:gd name="T11" fmla="*/ 264 h 264"/>
                <a:gd name="T12" fmla="*/ 395 w 395"/>
                <a:gd name="T13" fmla="*/ 236 h 264"/>
                <a:gd name="T14" fmla="*/ 395 w 395"/>
                <a:gd name="T15" fmla="*/ 28 h 264"/>
                <a:gd name="T16" fmla="*/ 367 w 395"/>
                <a:gd name="T17" fmla="*/ 0 h 264"/>
                <a:gd name="T18" fmla="*/ 379 w 395"/>
                <a:gd name="T19" fmla="*/ 236 h 264"/>
                <a:gd name="T20" fmla="*/ 367 w 395"/>
                <a:gd name="T21" fmla="*/ 247 h 264"/>
                <a:gd name="T22" fmla="*/ 28 w 395"/>
                <a:gd name="T23" fmla="*/ 247 h 264"/>
                <a:gd name="T24" fmla="*/ 17 w 395"/>
                <a:gd name="T25" fmla="*/ 236 h 264"/>
                <a:gd name="T26" fmla="*/ 17 w 395"/>
                <a:gd name="T27" fmla="*/ 28 h 264"/>
                <a:gd name="T28" fmla="*/ 28 w 395"/>
                <a:gd name="T29" fmla="*/ 17 h 264"/>
                <a:gd name="T30" fmla="*/ 367 w 395"/>
                <a:gd name="T31" fmla="*/ 17 h 264"/>
                <a:gd name="T32" fmla="*/ 379 w 395"/>
                <a:gd name="T33" fmla="*/ 28 h 264"/>
                <a:gd name="T34" fmla="*/ 379 w 395"/>
                <a:gd name="T35" fmla="*/ 23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5" h="264">
                  <a:moveTo>
                    <a:pt x="36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51"/>
                    <a:pt x="13" y="264"/>
                    <a:pt x="28" y="264"/>
                  </a:cubicBezTo>
                  <a:cubicBezTo>
                    <a:pt x="367" y="264"/>
                    <a:pt x="367" y="264"/>
                    <a:pt x="367" y="264"/>
                  </a:cubicBezTo>
                  <a:cubicBezTo>
                    <a:pt x="383" y="264"/>
                    <a:pt x="395" y="251"/>
                    <a:pt x="395" y="236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395" y="13"/>
                    <a:pt x="383" y="0"/>
                    <a:pt x="367" y="0"/>
                  </a:cubicBezTo>
                  <a:close/>
                  <a:moveTo>
                    <a:pt x="379" y="236"/>
                  </a:moveTo>
                  <a:cubicBezTo>
                    <a:pt x="379" y="242"/>
                    <a:pt x="374" y="247"/>
                    <a:pt x="367" y="247"/>
                  </a:cubicBezTo>
                  <a:cubicBezTo>
                    <a:pt x="28" y="247"/>
                    <a:pt x="28" y="247"/>
                    <a:pt x="28" y="247"/>
                  </a:cubicBezTo>
                  <a:cubicBezTo>
                    <a:pt x="22" y="247"/>
                    <a:pt x="17" y="242"/>
                    <a:pt x="17" y="236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2"/>
                    <a:pt x="22" y="17"/>
                    <a:pt x="28" y="17"/>
                  </a:cubicBezTo>
                  <a:cubicBezTo>
                    <a:pt x="367" y="17"/>
                    <a:pt x="367" y="17"/>
                    <a:pt x="367" y="17"/>
                  </a:cubicBezTo>
                  <a:cubicBezTo>
                    <a:pt x="374" y="17"/>
                    <a:pt x="379" y="22"/>
                    <a:pt x="379" y="28"/>
                  </a:cubicBezTo>
                  <a:lnTo>
                    <a:pt x="379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  <p:sp>
          <p:nvSpPr>
            <p:cNvPr id="102" name="Freeform 7"/>
            <p:cNvSpPr>
              <a:spLocks noEditPoints="1"/>
            </p:cNvSpPr>
            <p:nvPr/>
          </p:nvSpPr>
          <p:spPr bwMode="auto">
            <a:xfrm>
              <a:off x="5349875" y="1209106"/>
              <a:ext cx="104775" cy="104775"/>
            </a:xfrm>
            <a:custGeom>
              <a:avLst/>
              <a:gdLst>
                <a:gd name="T0" fmla="*/ 25 w 50"/>
                <a:gd name="T1" fmla="*/ 0 h 50"/>
                <a:gd name="T2" fmla="*/ 0 w 50"/>
                <a:gd name="T3" fmla="*/ 25 h 50"/>
                <a:gd name="T4" fmla="*/ 25 w 50"/>
                <a:gd name="T5" fmla="*/ 50 h 50"/>
                <a:gd name="T6" fmla="*/ 50 w 50"/>
                <a:gd name="T7" fmla="*/ 25 h 50"/>
                <a:gd name="T8" fmla="*/ 25 w 50"/>
                <a:gd name="T9" fmla="*/ 0 h 50"/>
                <a:gd name="T10" fmla="*/ 25 w 50"/>
                <a:gd name="T11" fmla="*/ 33 h 50"/>
                <a:gd name="T12" fmla="*/ 17 w 50"/>
                <a:gd name="T13" fmla="*/ 25 h 50"/>
                <a:gd name="T14" fmla="*/ 25 w 50"/>
                <a:gd name="T15" fmla="*/ 17 h 50"/>
                <a:gd name="T16" fmla="*/ 33 w 50"/>
                <a:gd name="T17" fmla="*/ 25 h 50"/>
                <a:gd name="T18" fmla="*/ 25 w 50"/>
                <a:gd name="T19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0"/>
                  </a:moveTo>
                  <a:cubicBezTo>
                    <a:pt x="11" y="0"/>
                    <a:pt x="0" y="12"/>
                    <a:pt x="0" y="25"/>
                  </a:cubicBezTo>
                  <a:cubicBezTo>
                    <a:pt x="0" y="39"/>
                    <a:pt x="11" y="50"/>
                    <a:pt x="25" y="50"/>
                  </a:cubicBezTo>
                  <a:cubicBezTo>
                    <a:pt x="38" y="50"/>
                    <a:pt x="50" y="39"/>
                    <a:pt x="50" y="25"/>
                  </a:cubicBezTo>
                  <a:cubicBezTo>
                    <a:pt x="50" y="12"/>
                    <a:pt x="38" y="0"/>
                    <a:pt x="25" y="0"/>
                  </a:cubicBezTo>
                  <a:close/>
                  <a:moveTo>
                    <a:pt x="25" y="33"/>
                  </a:moveTo>
                  <a:cubicBezTo>
                    <a:pt x="20" y="33"/>
                    <a:pt x="17" y="30"/>
                    <a:pt x="17" y="25"/>
                  </a:cubicBezTo>
                  <a:cubicBezTo>
                    <a:pt x="17" y="21"/>
                    <a:pt x="20" y="17"/>
                    <a:pt x="25" y="17"/>
                  </a:cubicBezTo>
                  <a:cubicBezTo>
                    <a:pt x="29" y="17"/>
                    <a:pt x="33" y="21"/>
                    <a:pt x="33" y="25"/>
                  </a:cubicBezTo>
                  <a:cubicBezTo>
                    <a:pt x="33" y="30"/>
                    <a:pt x="29" y="33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  <p:sp>
          <p:nvSpPr>
            <p:cNvPr id="103" name="Freeform 8"/>
            <p:cNvSpPr>
              <a:spLocks noEditPoints="1"/>
            </p:cNvSpPr>
            <p:nvPr/>
          </p:nvSpPr>
          <p:spPr bwMode="auto">
            <a:xfrm>
              <a:off x="5480050" y="866206"/>
              <a:ext cx="280988" cy="2809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0 h 134"/>
                <a:gd name="T12" fmla="*/ 10 w 134"/>
                <a:gd name="T13" fmla="*/ 67 h 134"/>
                <a:gd name="T14" fmla="*/ 67 w 134"/>
                <a:gd name="T15" fmla="*/ 124 h 134"/>
                <a:gd name="T16" fmla="*/ 124 w 134"/>
                <a:gd name="T17" fmla="*/ 67 h 134"/>
                <a:gd name="T18" fmla="*/ 67 w 134"/>
                <a:gd name="T19" fmla="*/ 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0"/>
                  </a:moveTo>
                  <a:cubicBezTo>
                    <a:pt x="35" y="10"/>
                    <a:pt x="10" y="35"/>
                    <a:pt x="10" y="67"/>
                  </a:cubicBezTo>
                  <a:cubicBezTo>
                    <a:pt x="10" y="98"/>
                    <a:pt x="35" y="124"/>
                    <a:pt x="67" y="124"/>
                  </a:cubicBezTo>
                  <a:cubicBezTo>
                    <a:pt x="98" y="124"/>
                    <a:pt x="124" y="98"/>
                    <a:pt x="124" y="67"/>
                  </a:cubicBezTo>
                  <a:cubicBezTo>
                    <a:pt x="124" y="35"/>
                    <a:pt x="98" y="10"/>
                    <a:pt x="6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  <p:sp>
          <p:nvSpPr>
            <p:cNvPr id="104" name="Freeform 9"/>
            <p:cNvSpPr>
              <a:spLocks noEditPoints="1"/>
            </p:cNvSpPr>
            <p:nvPr/>
          </p:nvSpPr>
          <p:spPr bwMode="auto">
            <a:xfrm>
              <a:off x="5545138" y="931293"/>
              <a:ext cx="150813" cy="15081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0 h 72"/>
                <a:gd name="T12" fmla="*/ 10 w 72"/>
                <a:gd name="T13" fmla="*/ 36 h 72"/>
                <a:gd name="T14" fmla="*/ 36 w 72"/>
                <a:gd name="T15" fmla="*/ 62 h 72"/>
                <a:gd name="T16" fmla="*/ 62 w 72"/>
                <a:gd name="T17" fmla="*/ 36 h 72"/>
                <a:gd name="T18" fmla="*/ 36 w 72"/>
                <a:gd name="T19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0"/>
                  </a:moveTo>
                  <a:cubicBezTo>
                    <a:pt x="22" y="10"/>
                    <a:pt x="10" y="21"/>
                    <a:pt x="10" y="36"/>
                  </a:cubicBezTo>
                  <a:cubicBezTo>
                    <a:pt x="10" y="50"/>
                    <a:pt x="22" y="62"/>
                    <a:pt x="36" y="62"/>
                  </a:cubicBezTo>
                  <a:cubicBezTo>
                    <a:pt x="50" y="62"/>
                    <a:pt x="62" y="50"/>
                    <a:pt x="62" y="36"/>
                  </a:cubicBezTo>
                  <a:cubicBezTo>
                    <a:pt x="62" y="21"/>
                    <a:pt x="50" y="10"/>
                    <a:pt x="3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  <p:sp>
          <p:nvSpPr>
            <p:cNvPr id="105" name="Freeform 10"/>
            <p:cNvSpPr>
              <a:spLocks/>
            </p:cNvSpPr>
            <p:nvPr/>
          </p:nvSpPr>
          <p:spPr bwMode="auto">
            <a:xfrm>
              <a:off x="5316538" y="702693"/>
              <a:ext cx="371475" cy="396875"/>
            </a:xfrm>
            <a:custGeom>
              <a:avLst/>
              <a:gdLst>
                <a:gd name="T0" fmla="*/ 155 w 177"/>
                <a:gd name="T1" fmla="*/ 0 h 189"/>
                <a:gd name="T2" fmla="*/ 134 w 177"/>
                <a:gd name="T3" fmla="*/ 0 h 189"/>
                <a:gd name="T4" fmla="*/ 104 w 177"/>
                <a:gd name="T5" fmla="*/ 28 h 189"/>
                <a:gd name="T6" fmla="*/ 91 w 177"/>
                <a:gd name="T7" fmla="*/ 33 h 189"/>
                <a:gd name="T8" fmla="*/ 72 w 177"/>
                <a:gd name="T9" fmla="*/ 26 h 189"/>
                <a:gd name="T10" fmla="*/ 50 w 177"/>
                <a:gd name="T11" fmla="*/ 35 h 189"/>
                <a:gd name="T12" fmla="*/ 35 w 177"/>
                <a:gd name="T13" fmla="*/ 50 h 189"/>
                <a:gd name="T14" fmla="*/ 26 w 177"/>
                <a:gd name="T15" fmla="*/ 72 h 189"/>
                <a:gd name="T16" fmla="*/ 33 w 177"/>
                <a:gd name="T17" fmla="*/ 91 h 189"/>
                <a:gd name="T18" fmla="*/ 28 w 177"/>
                <a:gd name="T19" fmla="*/ 104 h 189"/>
                <a:gd name="T20" fmla="*/ 0 w 177"/>
                <a:gd name="T21" fmla="*/ 134 h 189"/>
                <a:gd name="T22" fmla="*/ 0 w 177"/>
                <a:gd name="T23" fmla="*/ 155 h 189"/>
                <a:gd name="T24" fmla="*/ 28 w 177"/>
                <a:gd name="T25" fmla="*/ 186 h 189"/>
                <a:gd name="T26" fmla="*/ 29 w 177"/>
                <a:gd name="T27" fmla="*/ 189 h 189"/>
                <a:gd name="T28" fmla="*/ 52 w 177"/>
                <a:gd name="T29" fmla="*/ 189 h 189"/>
                <a:gd name="T30" fmla="*/ 44 w 177"/>
                <a:gd name="T31" fmla="*/ 165 h 189"/>
                <a:gd name="T32" fmla="*/ 31 w 177"/>
                <a:gd name="T33" fmla="*/ 165 h 189"/>
                <a:gd name="T34" fmla="*/ 21 w 177"/>
                <a:gd name="T35" fmla="*/ 155 h 189"/>
                <a:gd name="T36" fmla="*/ 21 w 177"/>
                <a:gd name="T37" fmla="*/ 134 h 189"/>
                <a:gd name="T38" fmla="*/ 31 w 177"/>
                <a:gd name="T39" fmla="*/ 124 h 189"/>
                <a:gd name="T40" fmla="*/ 44 w 177"/>
                <a:gd name="T41" fmla="*/ 124 h 189"/>
                <a:gd name="T42" fmla="*/ 59 w 177"/>
                <a:gd name="T43" fmla="*/ 88 h 189"/>
                <a:gd name="T44" fmla="*/ 50 w 177"/>
                <a:gd name="T45" fmla="*/ 79 h 189"/>
                <a:gd name="T46" fmla="*/ 50 w 177"/>
                <a:gd name="T47" fmla="*/ 64 h 189"/>
                <a:gd name="T48" fmla="*/ 64 w 177"/>
                <a:gd name="T49" fmla="*/ 50 h 189"/>
                <a:gd name="T50" fmla="*/ 72 w 177"/>
                <a:gd name="T51" fmla="*/ 47 h 189"/>
                <a:gd name="T52" fmla="*/ 79 w 177"/>
                <a:gd name="T53" fmla="*/ 50 h 189"/>
                <a:gd name="T54" fmla="*/ 88 w 177"/>
                <a:gd name="T55" fmla="*/ 59 h 189"/>
                <a:gd name="T56" fmla="*/ 124 w 177"/>
                <a:gd name="T57" fmla="*/ 43 h 189"/>
                <a:gd name="T58" fmla="*/ 124 w 177"/>
                <a:gd name="T59" fmla="*/ 31 h 189"/>
                <a:gd name="T60" fmla="*/ 134 w 177"/>
                <a:gd name="T61" fmla="*/ 21 h 189"/>
                <a:gd name="T62" fmla="*/ 155 w 177"/>
                <a:gd name="T63" fmla="*/ 21 h 189"/>
                <a:gd name="T64" fmla="*/ 165 w 177"/>
                <a:gd name="T65" fmla="*/ 31 h 189"/>
                <a:gd name="T66" fmla="*/ 165 w 177"/>
                <a:gd name="T67" fmla="*/ 43 h 189"/>
                <a:gd name="T68" fmla="*/ 177 w 177"/>
                <a:gd name="T69" fmla="*/ 47 h 189"/>
                <a:gd name="T70" fmla="*/ 177 w 177"/>
                <a:gd name="T71" fmla="*/ 9 h 189"/>
                <a:gd name="T72" fmla="*/ 155 w 177"/>
                <a:gd name="T7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7" h="189">
                  <a:moveTo>
                    <a:pt x="155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18" y="0"/>
                    <a:pt x="105" y="12"/>
                    <a:pt x="104" y="28"/>
                  </a:cubicBezTo>
                  <a:cubicBezTo>
                    <a:pt x="99" y="29"/>
                    <a:pt x="95" y="31"/>
                    <a:pt x="91" y="33"/>
                  </a:cubicBezTo>
                  <a:cubicBezTo>
                    <a:pt x="86" y="28"/>
                    <a:pt x="79" y="26"/>
                    <a:pt x="72" y="26"/>
                  </a:cubicBezTo>
                  <a:cubicBezTo>
                    <a:pt x="63" y="26"/>
                    <a:pt x="56" y="29"/>
                    <a:pt x="50" y="35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29" y="56"/>
                    <a:pt x="26" y="63"/>
                    <a:pt x="26" y="72"/>
                  </a:cubicBezTo>
                  <a:cubicBezTo>
                    <a:pt x="26" y="79"/>
                    <a:pt x="29" y="86"/>
                    <a:pt x="33" y="91"/>
                  </a:cubicBezTo>
                  <a:cubicBezTo>
                    <a:pt x="31" y="95"/>
                    <a:pt x="29" y="99"/>
                    <a:pt x="28" y="104"/>
                  </a:cubicBezTo>
                  <a:cubicBezTo>
                    <a:pt x="12" y="105"/>
                    <a:pt x="0" y="118"/>
                    <a:pt x="0" y="13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71"/>
                    <a:pt x="12" y="184"/>
                    <a:pt x="28" y="186"/>
                  </a:cubicBezTo>
                  <a:cubicBezTo>
                    <a:pt x="28" y="187"/>
                    <a:pt x="29" y="188"/>
                    <a:pt x="29" y="189"/>
                  </a:cubicBezTo>
                  <a:cubicBezTo>
                    <a:pt x="52" y="189"/>
                    <a:pt x="52" y="189"/>
                    <a:pt x="52" y="189"/>
                  </a:cubicBezTo>
                  <a:cubicBezTo>
                    <a:pt x="48" y="182"/>
                    <a:pt x="45" y="174"/>
                    <a:pt x="44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25" y="165"/>
                    <a:pt x="21" y="161"/>
                    <a:pt x="21" y="155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29"/>
                    <a:pt x="25" y="124"/>
                    <a:pt x="31" y="124"/>
                  </a:cubicBezTo>
                  <a:cubicBezTo>
                    <a:pt x="44" y="124"/>
                    <a:pt x="44" y="124"/>
                    <a:pt x="44" y="124"/>
                  </a:cubicBezTo>
                  <a:cubicBezTo>
                    <a:pt x="46" y="111"/>
                    <a:pt x="52" y="99"/>
                    <a:pt x="59" y="88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46" y="75"/>
                    <a:pt x="46" y="68"/>
                    <a:pt x="50" y="64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6" y="48"/>
                    <a:pt x="69" y="47"/>
                    <a:pt x="72" y="47"/>
                  </a:cubicBezTo>
                  <a:cubicBezTo>
                    <a:pt x="74" y="47"/>
                    <a:pt x="77" y="48"/>
                    <a:pt x="79" y="50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9" y="52"/>
                    <a:pt x="111" y="46"/>
                    <a:pt x="124" y="4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5"/>
                    <a:pt x="129" y="21"/>
                    <a:pt x="134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61" y="21"/>
                    <a:pt x="165" y="25"/>
                    <a:pt x="165" y="31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9" y="44"/>
                    <a:pt x="173" y="45"/>
                    <a:pt x="177" y="47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1" y="3"/>
                    <a:pt x="163" y="0"/>
                    <a:pt x="15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400">
                <a:latin typeface="+mn-lt"/>
                <a:ea typeface="+mn-ea"/>
              </a:endParaRPr>
            </a:p>
          </p:txBody>
        </p:sp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6BD3E51C-CD73-6DFF-E315-A0C125E879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35190" y="0"/>
            <a:ext cx="856810" cy="86546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184AE72-C846-4EF8-B49A-9AFBB5850227}"/>
              </a:ext>
            </a:extLst>
          </p:cNvPr>
          <p:cNvSpPr txBox="1"/>
          <p:nvPr/>
        </p:nvSpPr>
        <p:spPr>
          <a:xfrm>
            <a:off x="1751138" y="430639"/>
            <a:ext cx="2357569" cy="5909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3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Solución</a:t>
            </a:r>
            <a:r>
              <a:rPr lang="es-CL" altLang="es-CL" sz="3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: </a:t>
            </a:r>
            <a:endParaRPr lang="es-CL" sz="36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4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83" grpId="0"/>
      <p:bldP spid="85" grpId="0"/>
      <p:bldP spid="86" grpId="0"/>
      <p:bldP spid="96" grpId="0"/>
      <p:bldP spid="97" grpId="0"/>
      <p:bldP spid="99" grpId="0"/>
      <p:bldP spid="100" grpId="0"/>
      <p:bldP spid="110" grpId="0"/>
      <p:bldP spid="1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10"/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4B90B3AC-360D-4C0F-BB2D-EFC963FB8AB1}" type="slidenum">
              <a:rPr lang="es-CL" dirty="0" smtClean="0">
                <a:solidFill>
                  <a:srgbClr val="90C226"/>
                </a:solidFill>
              </a:rPr>
              <a:pPr/>
              <a:t>7</a:t>
            </a:fld>
            <a:endParaRPr lang="es-CL" dirty="0">
              <a:solidFill>
                <a:srgbClr val="90C226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 idx="4294967295"/>
          </p:nvPr>
        </p:nvSpPr>
        <p:spPr>
          <a:xfrm>
            <a:off x="463343" y="407049"/>
            <a:ext cx="10621370" cy="132080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 lvl="0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3200" b="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RobotPentester</a:t>
            </a:r>
          </a:p>
        </p:txBody>
      </p:sp>
      <p:graphicFrame>
        <p:nvGraphicFramePr>
          <p:cNvPr id="21" name="Objeto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ubtítulo 12"/>
          <p:cNvSpPr txBox="1">
            <a:spLocks/>
          </p:cNvSpPr>
          <p:nvPr/>
        </p:nvSpPr>
        <p:spPr>
          <a:xfrm>
            <a:off x="777651" y="11484653"/>
            <a:ext cx="4543691" cy="1165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tar con una herramienta adicional que nos entregue información valiosa sobre ciberseguridad 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65D995D4-4E73-408A-CBD9-8929F3B59A44}"/>
              </a:ext>
            </a:extLst>
          </p:cNvPr>
          <p:cNvSpPr txBox="1">
            <a:spLocks/>
          </p:cNvSpPr>
          <p:nvPr/>
        </p:nvSpPr>
        <p:spPr>
          <a:xfrm>
            <a:off x="7634514" y="6581895"/>
            <a:ext cx="4026111" cy="251903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endParaRPr lang="x-none" sz="900" b="1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32" name="Diagram 24"/>
          <p:cNvGraphicFramePr/>
          <p:nvPr>
            <p:extLst>
              <p:ext uri="{D42A27DB-BD31-4B8C-83A1-F6EECF244321}">
                <p14:modId xmlns:p14="http://schemas.microsoft.com/office/powerpoint/2010/main" val="228608799"/>
              </p:ext>
            </p:extLst>
          </p:nvPr>
        </p:nvGraphicFramePr>
        <p:xfrm>
          <a:off x="1299942" y="1744032"/>
          <a:ext cx="8597339" cy="2622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3" name="TextBox 13"/>
          <p:cNvSpPr txBox="1"/>
          <p:nvPr/>
        </p:nvSpPr>
        <p:spPr>
          <a:xfrm>
            <a:off x="4097374" y="1003940"/>
            <a:ext cx="2436174" cy="383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2100" dirty="0">
                <a:solidFill>
                  <a:schemeClr val="tx1">
                    <a:lumMod val="75000"/>
                  </a:schemeClr>
                </a:solidFill>
                <a:latin typeface="+mj-lt"/>
              </a:rPr>
              <a:t>¿Cómo funciona?</a:t>
            </a:r>
            <a:endParaRPr lang="id-ID" sz="21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0" name="TextBox 14"/>
          <p:cNvSpPr txBox="1"/>
          <p:nvPr/>
        </p:nvSpPr>
        <p:spPr>
          <a:xfrm>
            <a:off x="628583" y="4029190"/>
            <a:ext cx="2356128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lujo del proceso en 4 pasos </a:t>
            </a:r>
            <a:endParaRPr lang="id-ID" sz="8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pSp>
        <p:nvGrpSpPr>
          <p:cNvPr id="41" name="Group 15"/>
          <p:cNvGrpSpPr>
            <a:grpSpLocks/>
          </p:cNvGrpSpPr>
          <p:nvPr/>
        </p:nvGrpSpPr>
        <p:grpSpPr bwMode="auto">
          <a:xfrm>
            <a:off x="4690998" y="757697"/>
            <a:ext cx="904379" cy="840926"/>
            <a:chOff x="5314502" y="537541"/>
            <a:chExt cx="1425895" cy="1376617"/>
          </a:xfrm>
        </p:grpSpPr>
        <p:grpSp>
          <p:nvGrpSpPr>
            <p:cNvPr id="42" name="Group 16"/>
            <p:cNvGrpSpPr>
              <a:grpSpLocks/>
            </p:cNvGrpSpPr>
            <p:nvPr/>
          </p:nvGrpSpPr>
          <p:grpSpPr bwMode="auto">
            <a:xfrm>
              <a:off x="5314502" y="537541"/>
              <a:ext cx="616898" cy="398711"/>
              <a:chOff x="7324056" y="694593"/>
              <a:chExt cx="616898" cy="398711"/>
            </a:xfrm>
          </p:grpSpPr>
          <p:sp>
            <p:nvSpPr>
              <p:cNvPr id="47" name="Freeform 23"/>
              <p:cNvSpPr>
                <a:spLocks/>
              </p:cNvSpPr>
              <p:nvPr/>
            </p:nvSpPr>
            <p:spPr bwMode="auto">
              <a:xfrm>
                <a:off x="7398210" y="878847"/>
                <a:ext cx="256365" cy="213906"/>
              </a:xfrm>
              <a:custGeom>
                <a:avLst/>
                <a:gdLst>
                  <a:gd name="T0" fmla="*/ 570 w 570"/>
                  <a:gd name="T1" fmla="*/ 476 h 476"/>
                  <a:gd name="T2" fmla="*/ 30 w 570"/>
                  <a:gd name="T3" fmla="*/ 0 h 476"/>
                  <a:gd name="T4" fmla="*/ 0 w 570"/>
                  <a:gd name="T5" fmla="*/ 36 h 476"/>
                  <a:gd name="T6" fmla="*/ 499 w 570"/>
                  <a:gd name="T7" fmla="*/ 476 h 476"/>
                  <a:gd name="T8" fmla="*/ 570 w 570"/>
                  <a:gd name="T9" fmla="*/ 476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476">
                    <a:moveTo>
                      <a:pt x="570" y="476"/>
                    </a:moveTo>
                    <a:lnTo>
                      <a:pt x="30" y="0"/>
                    </a:lnTo>
                    <a:lnTo>
                      <a:pt x="0" y="36"/>
                    </a:lnTo>
                    <a:lnTo>
                      <a:pt x="499" y="476"/>
                    </a:lnTo>
                    <a:lnTo>
                      <a:pt x="570" y="476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8" name="Freeform 25"/>
              <p:cNvSpPr>
                <a:spLocks/>
              </p:cNvSpPr>
              <p:nvPr/>
            </p:nvSpPr>
            <p:spPr bwMode="auto">
              <a:xfrm>
                <a:off x="7324056" y="694593"/>
                <a:ext cx="468236" cy="398160"/>
              </a:xfrm>
              <a:custGeom>
                <a:avLst/>
                <a:gdLst>
                  <a:gd name="T0" fmla="*/ 1037 w 1037"/>
                  <a:gd name="T1" fmla="*/ 883 h 883"/>
                  <a:gd name="T2" fmla="*/ 31 w 1037"/>
                  <a:gd name="T3" fmla="*/ 0 h 883"/>
                  <a:gd name="T4" fmla="*/ 0 w 1037"/>
                  <a:gd name="T5" fmla="*/ 35 h 883"/>
                  <a:gd name="T6" fmla="*/ 964 w 1037"/>
                  <a:gd name="T7" fmla="*/ 883 h 883"/>
                  <a:gd name="T8" fmla="*/ 1037 w 1037"/>
                  <a:gd name="T9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7" h="883">
                    <a:moveTo>
                      <a:pt x="1037" y="883"/>
                    </a:moveTo>
                    <a:lnTo>
                      <a:pt x="31" y="0"/>
                    </a:lnTo>
                    <a:lnTo>
                      <a:pt x="0" y="35"/>
                    </a:lnTo>
                    <a:lnTo>
                      <a:pt x="964" y="883"/>
                    </a:lnTo>
                    <a:lnTo>
                      <a:pt x="1037" y="883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9" name="Freeform 23"/>
              <p:cNvSpPr>
                <a:spLocks/>
              </p:cNvSpPr>
              <p:nvPr/>
            </p:nvSpPr>
            <p:spPr bwMode="auto">
              <a:xfrm>
                <a:off x="7601607" y="806840"/>
                <a:ext cx="338995" cy="285913"/>
              </a:xfrm>
              <a:custGeom>
                <a:avLst/>
                <a:gdLst>
                  <a:gd name="T0" fmla="*/ 822 w 822"/>
                  <a:gd name="T1" fmla="*/ 694 h 694"/>
                  <a:gd name="T2" fmla="*/ 34 w 822"/>
                  <a:gd name="T3" fmla="*/ 0 h 694"/>
                  <a:gd name="T4" fmla="*/ 0 w 822"/>
                  <a:gd name="T5" fmla="*/ 36 h 694"/>
                  <a:gd name="T6" fmla="*/ 751 w 822"/>
                  <a:gd name="T7" fmla="*/ 694 h 694"/>
                  <a:gd name="T8" fmla="*/ 822 w 822"/>
                  <a:gd name="T9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2" h="694">
                    <a:moveTo>
                      <a:pt x="822" y="694"/>
                    </a:moveTo>
                    <a:lnTo>
                      <a:pt x="34" y="0"/>
                    </a:lnTo>
                    <a:lnTo>
                      <a:pt x="0" y="36"/>
                    </a:lnTo>
                    <a:lnTo>
                      <a:pt x="751" y="694"/>
                    </a:lnTo>
                    <a:lnTo>
                      <a:pt x="822" y="694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  <p:grpSp>
          <p:nvGrpSpPr>
            <p:cNvPr id="43" name="Group 17"/>
            <p:cNvGrpSpPr>
              <a:grpSpLocks/>
            </p:cNvGrpSpPr>
            <p:nvPr/>
          </p:nvGrpSpPr>
          <p:grpSpPr bwMode="auto">
            <a:xfrm>
              <a:off x="6261313" y="1506868"/>
              <a:ext cx="479084" cy="407290"/>
              <a:chOff x="8086770" y="1485428"/>
              <a:chExt cx="479084" cy="407290"/>
            </a:xfrm>
          </p:grpSpPr>
          <p:sp>
            <p:nvSpPr>
              <p:cNvPr id="44" name="Freeform 24"/>
              <p:cNvSpPr>
                <a:spLocks/>
              </p:cNvSpPr>
              <p:nvPr/>
            </p:nvSpPr>
            <p:spPr bwMode="auto">
              <a:xfrm>
                <a:off x="8087025" y="1486087"/>
                <a:ext cx="478829" cy="406631"/>
              </a:xfrm>
              <a:custGeom>
                <a:avLst/>
                <a:gdLst>
                  <a:gd name="T0" fmla="*/ 0 w 1061"/>
                  <a:gd name="T1" fmla="*/ 0 h 902"/>
                  <a:gd name="T2" fmla="*/ 1028 w 1061"/>
                  <a:gd name="T3" fmla="*/ 902 h 902"/>
                  <a:gd name="T4" fmla="*/ 1061 w 1061"/>
                  <a:gd name="T5" fmla="*/ 866 h 902"/>
                  <a:gd name="T6" fmla="*/ 74 w 1061"/>
                  <a:gd name="T7" fmla="*/ 0 h 902"/>
                  <a:gd name="T8" fmla="*/ 0 w 1061"/>
                  <a:gd name="T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1" h="902">
                    <a:moveTo>
                      <a:pt x="0" y="0"/>
                    </a:moveTo>
                    <a:lnTo>
                      <a:pt x="1028" y="902"/>
                    </a:lnTo>
                    <a:lnTo>
                      <a:pt x="1061" y="866"/>
                    </a:lnTo>
                    <a:lnTo>
                      <a:pt x="7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5" name="Freeform 26"/>
              <p:cNvSpPr>
                <a:spLocks/>
              </p:cNvSpPr>
              <p:nvPr/>
            </p:nvSpPr>
            <p:spPr bwMode="auto">
              <a:xfrm>
                <a:off x="8222623" y="1486087"/>
                <a:ext cx="269077" cy="222376"/>
              </a:xfrm>
              <a:custGeom>
                <a:avLst/>
                <a:gdLst>
                  <a:gd name="T0" fmla="*/ 0 w 592"/>
                  <a:gd name="T1" fmla="*/ 0 h 495"/>
                  <a:gd name="T2" fmla="*/ 561 w 592"/>
                  <a:gd name="T3" fmla="*/ 495 h 495"/>
                  <a:gd name="T4" fmla="*/ 592 w 592"/>
                  <a:gd name="T5" fmla="*/ 459 h 495"/>
                  <a:gd name="T6" fmla="*/ 71 w 592"/>
                  <a:gd name="T7" fmla="*/ 0 h 495"/>
                  <a:gd name="T8" fmla="*/ 0 w 592"/>
                  <a:gd name="T9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95">
                    <a:moveTo>
                      <a:pt x="0" y="0"/>
                    </a:moveTo>
                    <a:lnTo>
                      <a:pt x="561" y="495"/>
                    </a:lnTo>
                    <a:lnTo>
                      <a:pt x="592" y="459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6" name="Freeform 28"/>
              <p:cNvSpPr>
                <a:spLocks/>
              </p:cNvSpPr>
              <p:nvPr/>
            </p:nvSpPr>
            <p:spPr bwMode="auto">
              <a:xfrm>
                <a:off x="8337033" y="1486087"/>
                <a:ext cx="171616" cy="139779"/>
              </a:xfrm>
              <a:custGeom>
                <a:avLst/>
                <a:gdLst>
                  <a:gd name="T0" fmla="*/ 0 w 415"/>
                  <a:gd name="T1" fmla="*/ 0 h 338"/>
                  <a:gd name="T2" fmla="*/ 384 w 415"/>
                  <a:gd name="T3" fmla="*/ 338 h 338"/>
                  <a:gd name="T4" fmla="*/ 415 w 415"/>
                  <a:gd name="T5" fmla="*/ 303 h 338"/>
                  <a:gd name="T6" fmla="*/ 71 w 415"/>
                  <a:gd name="T7" fmla="*/ 0 h 338"/>
                  <a:gd name="T8" fmla="*/ 0 w 41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338">
                    <a:moveTo>
                      <a:pt x="0" y="0"/>
                    </a:moveTo>
                    <a:lnTo>
                      <a:pt x="384" y="338"/>
                    </a:lnTo>
                    <a:lnTo>
                      <a:pt x="415" y="303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</p:grpSp>
      <p:sp>
        <p:nvSpPr>
          <p:cNvPr id="50" name="TextBox 126"/>
          <p:cNvSpPr txBox="1">
            <a:spLocks noChangeArrowheads="1"/>
          </p:cNvSpPr>
          <p:nvPr/>
        </p:nvSpPr>
        <p:spPr bwMode="auto">
          <a:xfrm>
            <a:off x="409951" y="4387019"/>
            <a:ext cx="3259816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600" b="1" dirty="0">
                <a:latin typeface="+mj-lt"/>
              </a:rPr>
              <a:t>Replica de flujo funcional</a:t>
            </a:r>
            <a:endParaRPr lang="id-ID" sz="1600" b="1" dirty="0">
              <a:latin typeface="+mj-lt"/>
            </a:endParaRPr>
          </a:p>
        </p:txBody>
      </p:sp>
      <p:cxnSp>
        <p:nvCxnSpPr>
          <p:cNvPr id="51" name="Straight Connector 128"/>
          <p:cNvCxnSpPr/>
          <p:nvPr/>
        </p:nvCxnSpPr>
        <p:spPr>
          <a:xfrm>
            <a:off x="628583" y="4218954"/>
            <a:ext cx="11092113" cy="1336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134"/>
          <p:cNvSpPr txBox="1">
            <a:spLocks noChangeArrowheads="1"/>
          </p:cNvSpPr>
          <p:nvPr/>
        </p:nvSpPr>
        <p:spPr bwMode="auto">
          <a:xfrm>
            <a:off x="3539594" y="4366344"/>
            <a:ext cx="2146490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600" b="1" dirty="0">
                <a:latin typeface="+mj-lt"/>
              </a:rPr>
              <a:t>Ejecución del script</a:t>
            </a:r>
            <a:endParaRPr lang="id-ID" sz="1600" b="1" dirty="0">
              <a:latin typeface="+mj-lt"/>
            </a:endParaRPr>
          </a:p>
        </p:txBody>
      </p:sp>
      <p:sp>
        <p:nvSpPr>
          <p:cNvPr id="53" name="Rectangle 135"/>
          <p:cNvSpPr/>
          <p:nvPr/>
        </p:nvSpPr>
        <p:spPr>
          <a:xfrm>
            <a:off x="3548140" y="4742635"/>
            <a:ext cx="24535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dirty="0"/>
              <a:t>Se levanta el contenedor de </a:t>
            </a:r>
            <a:r>
              <a:rPr lang="es-MX" sz="1400" b="1" dirty="0"/>
              <a:t>JMeter</a:t>
            </a:r>
            <a:r>
              <a:rPr lang="es-MX" sz="1400" dirty="0"/>
              <a:t>, que </a:t>
            </a:r>
            <a:r>
              <a:rPr lang="es-MX" sz="1400" b="1" dirty="0"/>
              <a:t>ejecuta el script</a:t>
            </a:r>
            <a:r>
              <a:rPr lang="es-MX" sz="1400" dirty="0"/>
              <a:t> automatizado replicando el flujo funcional del proyecto.</a:t>
            </a:r>
            <a:endParaRPr lang="es-CL" altLang="es-CL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5" name="TextBox 137"/>
          <p:cNvSpPr txBox="1">
            <a:spLocks noChangeArrowheads="1"/>
          </p:cNvSpPr>
          <p:nvPr/>
        </p:nvSpPr>
        <p:spPr bwMode="auto">
          <a:xfrm>
            <a:off x="6112064" y="4378157"/>
            <a:ext cx="2453568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600" b="1" dirty="0">
                <a:latin typeface="+mj-lt"/>
              </a:rPr>
              <a:t>Monitoreo OWASP ZAP</a:t>
            </a:r>
            <a:endParaRPr lang="id-ID" sz="1600" b="1" dirty="0">
              <a:latin typeface="+mj-lt"/>
            </a:endParaRPr>
          </a:p>
        </p:txBody>
      </p:sp>
      <p:sp>
        <p:nvSpPr>
          <p:cNvPr id="56" name="Rectangle 138"/>
          <p:cNvSpPr/>
          <p:nvPr/>
        </p:nvSpPr>
        <p:spPr>
          <a:xfrm>
            <a:off x="6174639" y="4758279"/>
            <a:ext cx="235398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dirty="0"/>
              <a:t>El contenedor de </a:t>
            </a:r>
            <a:r>
              <a:rPr lang="es-MX" sz="1400" b="1" dirty="0"/>
              <a:t>OWASP ZAP escucha</a:t>
            </a:r>
            <a:r>
              <a:rPr lang="es-MX" sz="1400" dirty="0"/>
              <a:t> el tráfico generado por </a:t>
            </a:r>
            <a:r>
              <a:rPr lang="es-MX" sz="1400" b="1" dirty="0"/>
              <a:t>JMeter</a:t>
            </a:r>
            <a:r>
              <a:rPr lang="es-MX" sz="1400" dirty="0"/>
              <a:t>, realizando un escaneo pasivo inicial.</a:t>
            </a:r>
            <a:endParaRPr lang="id-ID" sz="1400" dirty="0">
              <a:solidFill>
                <a:schemeClr val="tx2"/>
              </a:solidFill>
            </a:endParaRPr>
          </a:p>
        </p:txBody>
      </p:sp>
      <p:sp>
        <p:nvSpPr>
          <p:cNvPr id="58" name="TextBox 140"/>
          <p:cNvSpPr txBox="1">
            <a:spLocks noChangeArrowheads="1"/>
          </p:cNvSpPr>
          <p:nvPr/>
        </p:nvSpPr>
        <p:spPr bwMode="auto">
          <a:xfrm>
            <a:off x="9139313" y="4366095"/>
            <a:ext cx="3255289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600" b="1" dirty="0">
                <a:latin typeface="Raleway" charset="0"/>
              </a:rPr>
              <a:t>Escaneo </a:t>
            </a:r>
            <a:r>
              <a:rPr lang="es-MX" sz="1600" b="1" dirty="0">
                <a:latin typeface="+mj-lt"/>
              </a:rPr>
              <a:t>activo</a:t>
            </a:r>
            <a:endParaRPr lang="id-ID" sz="1600" b="1" dirty="0">
              <a:latin typeface="+mj-lt"/>
            </a:endParaRPr>
          </a:p>
        </p:txBody>
      </p:sp>
      <p:sp>
        <p:nvSpPr>
          <p:cNvPr id="59" name="Rectangle 141"/>
          <p:cNvSpPr/>
          <p:nvPr/>
        </p:nvSpPr>
        <p:spPr>
          <a:xfrm>
            <a:off x="9897281" y="2500933"/>
            <a:ext cx="2294719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400" dirty="0"/>
              <a:t>Una vez completados los escaneos, El Robot </a:t>
            </a:r>
            <a:r>
              <a:rPr lang="es-MX" sz="1400" b="1" dirty="0"/>
              <a:t>genera</a:t>
            </a:r>
            <a:r>
              <a:rPr lang="es-MX" sz="1400" dirty="0"/>
              <a:t> </a:t>
            </a:r>
            <a:r>
              <a:rPr lang="es-MX" sz="1400" b="1" dirty="0"/>
              <a:t>un informe </a:t>
            </a:r>
            <a:r>
              <a:rPr lang="es-MX" sz="1400" dirty="0"/>
              <a:t>detallado de las vulnerabilidades encontradas.</a:t>
            </a:r>
            <a:endParaRPr lang="id-ID" sz="1400" dirty="0">
              <a:solidFill>
                <a:schemeClr val="tx2"/>
              </a:solidFill>
            </a:endParaRPr>
          </a:p>
        </p:txBody>
      </p:sp>
      <p:sp>
        <p:nvSpPr>
          <p:cNvPr id="61" name="Rectangle 135"/>
          <p:cNvSpPr/>
          <p:nvPr/>
        </p:nvSpPr>
        <p:spPr>
          <a:xfrm>
            <a:off x="715792" y="4758279"/>
            <a:ext cx="271317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1400" dirty="0"/>
              <a:t>Un automatizador utiliza </a:t>
            </a:r>
            <a:r>
              <a:rPr lang="es-CL" altLang="es-CL" sz="1400" b="1" dirty="0"/>
              <a:t>JMeter</a:t>
            </a:r>
            <a:r>
              <a:rPr lang="es-CL" altLang="es-CL" sz="1400" dirty="0"/>
              <a:t> para </a:t>
            </a:r>
            <a:r>
              <a:rPr lang="es-CL" altLang="es-CL" sz="1400" b="1" dirty="0"/>
              <a:t>replicar el flujo funcional</a:t>
            </a:r>
            <a:r>
              <a:rPr lang="es-CL" altLang="es-CL" sz="1400" dirty="0"/>
              <a:t> del proyecto, generando un script que emula las acciones del usuario.</a:t>
            </a:r>
          </a:p>
        </p:txBody>
      </p:sp>
      <p:sp>
        <p:nvSpPr>
          <p:cNvPr id="62" name="Rectángulo 61"/>
          <p:cNvSpPr/>
          <p:nvPr/>
        </p:nvSpPr>
        <p:spPr>
          <a:xfrm>
            <a:off x="8823661" y="4848621"/>
            <a:ext cx="2549151" cy="867930"/>
          </a:xfrm>
          <a:prstGeom prst="rect">
            <a:avLst/>
          </a:prstGeom>
          <a:ln>
            <a:prstDash val="sys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s-MX" sz="1400" dirty="0"/>
              <a:t>Posteriormente, realiza un escaneo activo, aplicando las pruebas OWASP para detectar vulnerabilidades.</a:t>
            </a:r>
            <a:endParaRPr lang="es-CL" sz="1400" dirty="0"/>
          </a:p>
        </p:txBody>
      </p:sp>
      <p:pic>
        <p:nvPicPr>
          <p:cNvPr id="64" name="Picture 8" descr="A black and red logo&#10;&#10;Description automatically generated">
            <a:extLst>
              <a:ext uri="{FF2B5EF4-FFF2-40B4-BE49-F238E27FC236}">
                <a16:creationId xmlns:a16="http://schemas.microsoft.com/office/drawing/2014/main" id="{705764C3-BBD0-1D8D-4B8E-197B36C087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03722" y="6004193"/>
            <a:ext cx="1096909" cy="366952"/>
          </a:xfrm>
          <a:prstGeom prst="rect">
            <a:avLst/>
          </a:prstGeom>
        </p:spPr>
      </p:pic>
      <p:pic>
        <p:nvPicPr>
          <p:cNvPr id="65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40387864-9FA3-79EF-1B2F-97F583673DA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03977" y="5927830"/>
            <a:ext cx="927925" cy="366952"/>
          </a:xfrm>
          <a:prstGeom prst="rect">
            <a:avLst/>
          </a:prstGeom>
        </p:spPr>
      </p:pic>
      <p:pic>
        <p:nvPicPr>
          <p:cNvPr id="66" name="Picture 4" descr="Considering Docker? Consider Security First - Cisco Umbrella Blog">
            <a:extLst>
              <a:ext uri="{FF2B5EF4-FFF2-40B4-BE49-F238E27FC236}">
                <a16:creationId xmlns:a16="http://schemas.microsoft.com/office/drawing/2014/main" id="{F70026D0-C31E-8733-EE77-006D82C7A3A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43188" y="1631478"/>
            <a:ext cx="846772" cy="705235"/>
          </a:xfrm>
          <a:prstGeom prst="rect">
            <a:avLst/>
          </a:prstGeom>
        </p:spPr>
      </p:pic>
      <p:sp>
        <p:nvSpPr>
          <p:cNvPr id="67" name="Rectángulo 66"/>
          <p:cNvSpPr/>
          <p:nvPr/>
        </p:nvSpPr>
        <p:spPr>
          <a:xfrm>
            <a:off x="6250925" y="1580659"/>
            <a:ext cx="39904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1400" dirty="0">
                <a:solidFill>
                  <a:schemeClr val="accent3"/>
                </a:solidFill>
                <a:latin typeface="Arial" panose="020B0604020202020204" pitchFamily="34" charset="0"/>
              </a:rPr>
              <a:t>Docker Compose gestiona la interacción entre los contenedores de JMeter y OWASP ZAP en múltiples ambientes.</a:t>
            </a:r>
          </a:p>
        </p:txBody>
      </p:sp>
    </p:spTree>
    <p:extLst>
      <p:ext uri="{BB962C8B-B14F-4D97-AF65-F5344CB8AC3E}">
        <p14:creationId xmlns:p14="http://schemas.microsoft.com/office/powerpoint/2010/main" val="38677416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40" grpId="0"/>
      <p:bldP spid="50" grpId="0"/>
      <p:bldP spid="52" grpId="0"/>
      <p:bldP spid="53" grpId="0"/>
      <p:bldP spid="55" grpId="0"/>
      <p:bldP spid="56" grpId="0"/>
      <p:bldP spid="58" grpId="0"/>
      <p:bldP spid="59" grpId="0"/>
      <p:bldP spid="61" grpId="0"/>
      <p:bldP spid="6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8AEB05B-29B0-F066-B707-CC425B40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D44761-05DF-2E43-B9F8-0B441F85CDD5}" type="slidenum">
              <a:rPr lang="id-ID" smtClean="0"/>
              <a:pPr/>
              <a:t>8</a:t>
            </a:fld>
            <a:endParaRPr lang="id-ID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E4BEE22-87F5-9AFE-D9C3-B78EE9B9C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8893" y="22893"/>
            <a:ext cx="943107" cy="952633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80B9E39-2B95-3FD4-F9DE-D24B7175CC06}"/>
              </a:ext>
            </a:extLst>
          </p:cNvPr>
          <p:cNvSpPr txBox="1">
            <a:spLocks/>
          </p:cNvSpPr>
          <p:nvPr/>
        </p:nvSpPr>
        <p:spPr>
          <a:xfrm>
            <a:off x="830974" y="354824"/>
            <a:ext cx="3224914" cy="624167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None/>
            </a:pPr>
            <a:r>
              <a:rPr lang="es-CL" sz="3200" dirty="0">
                <a:solidFill>
                  <a:schemeClr val="bg2">
                    <a:lumMod val="75000"/>
                  </a:schemeClr>
                </a:solidFill>
              </a:rPr>
              <a:t>Arquitectura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7A272FF-BB85-2FBD-8D53-FC1FC1F5B36A}"/>
              </a:ext>
            </a:extLst>
          </p:cNvPr>
          <p:cNvSpPr/>
          <p:nvPr/>
        </p:nvSpPr>
        <p:spPr>
          <a:xfrm>
            <a:off x="4401539" y="6142380"/>
            <a:ext cx="3393952" cy="69272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5943F1E9-6A55-172D-87CA-BFC359D7E8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43431" y="22893"/>
            <a:ext cx="7642179" cy="681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102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E16A8B31-118C-653D-7739-EDD6FF66ED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00685" y="1758642"/>
            <a:ext cx="6687836" cy="758780"/>
          </a:xfrm>
        </p:spPr>
        <p:txBody>
          <a:bodyPr/>
          <a:lstStyle/>
          <a:p>
            <a:pPr rtl="0"/>
            <a:r>
              <a:rPr lang="es-ES" sz="1400" dirty="0">
                <a:solidFill>
                  <a:schemeClr val="accent3"/>
                </a:solidFill>
              </a:rPr>
              <a:t>Utilizaremos herramientas reconocidas de pruebas de penetración, como OWASP ZAP y Metasploit, para detectar vulnerabilidades como inyecciones de código, XSS y errores de configuración de seguridad.</a:t>
            </a:r>
          </a:p>
          <a:p>
            <a:endParaRPr lang="es-CL" dirty="0"/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10D5FF59-9D17-ECE3-AFB5-C52CAD9E81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28812" y="1756070"/>
            <a:ext cx="1612782" cy="846177"/>
          </a:xfrm>
        </p:spPr>
        <p:txBody>
          <a:bodyPr/>
          <a:lstStyle/>
          <a:p>
            <a:r>
              <a:rPr lang="es-ES" sz="1600" b="0" dirty="0">
                <a:solidFill>
                  <a:schemeClr val="bg2">
                    <a:lumMod val="75000"/>
                  </a:schemeClr>
                </a:solidFill>
              </a:rPr>
              <a:t>Análisis Automatizado de Seguridad</a:t>
            </a:r>
            <a:endParaRPr lang="es-CL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D5D17599-D69B-C9E4-4CB8-4BB9A42832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00684" y="2949166"/>
            <a:ext cx="6496768" cy="758780"/>
          </a:xfrm>
        </p:spPr>
        <p:txBody>
          <a:bodyPr/>
          <a:lstStyle/>
          <a:p>
            <a:pPr rtl="0"/>
            <a:r>
              <a:rPr lang="es-ES" sz="1400" dirty="0">
                <a:solidFill>
                  <a:schemeClr val="accent3"/>
                </a:solidFill>
              </a:rPr>
              <a:t>Evaluaremos cómo las aplicaciones web manejan grandes volúmenes de tráfico y detectará posibles debilidades de seguridad relacionadas con la sobrecarga del sistema.</a:t>
            </a:r>
          </a:p>
          <a:p>
            <a:endParaRPr lang="es-CL" dirty="0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446B8A28-EA07-2D7D-BD6D-AA33F2B1C6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28811" y="2852034"/>
            <a:ext cx="1612781" cy="467999"/>
          </a:xfrm>
        </p:spPr>
        <p:txBody>
          <a:bodyPr/>
          <a:lstStyle/>
          <a:p>
            <a:r>
              <a:rPr lang="es-ES" sz="1600" b="0" dirty="0">
                <a:solidFill>
                  <a:schemeClr val="bg2">
                    <a:lumMod val="75000"/>
                  </a:schemeClr>
                </a:solidFill>
              </a:rPr>
              <a:t>Pruebas de Carga y Rendimiento con JMeter</a:t>
            </a:r>
            <a:endParaRPr lang="es-CL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2" name="Marcador de texto 21">
            <a:extLst>
              <a:ext uri="{FF2B5EF4-FFF2-40B4-BE49-F238E27FC236}">
                <a16:creationId xmlns:a16="http://schemas.microsoft.com/office/drawing/2014/main" id="{E1E052E5-1F9A-8D83-D7BF-CF10CDF21E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00684" y="4171252"/>
            <a:ext cx="6687837" cy="758780"/>
          </a:xfrm>
        </p:spPr>
        <p:txBody>
          <a:bodyPr/>
          <a:lstStyle/>
          <a:p>
            <a:pPr rtl="0"/>
            <a:r>
              <a:rPr lang="es-ES" sz="1400" dirty="0">
                <a:solidFill>
                  <a:schemeClr val="accent3"/>
                </a:solidFill>
              </a:rPr>
              <a:t>Obtendremos una configuración rápida del entorno de pruebas, ofreciendo un despliegue escalable y simplificado que facilita la integración con sistemas CI/CD.</a:t>
            </a:r>
          </a:p>
          <a:p>
            <a:endParaRPr lang="es-CL" dirty="0"/>
          </a:p>
        </p:txBody>
      </p:sp>
      <p:sp>
        <p:nvSpPr>
          <p:cNvPr id="23" name="Marcador de texto 22">
            <a:extLst>
              <a:ext uri="{FF2B5EF4-FFF2-40B4-BE49-F238E27FC236}">
                <a16:creationId xmlns:a16="http://schemas.microsoft.com/office/drawing/2014/main" id="{2F71C0D5-681A-320D-6A10-50530E7B18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28812" y="4171252"/>
            <a:ext cx="1612782" cy="467999"/>
          </a:xfrm>
        </p:spPr>
        <p:txBody>
          <a:bodyPr/>
          <a:lstStyle/>
          <a:p>
            <a:r>
              <a:rPr lang="es-ES" sz="1600" b="0" dirty="0">
                <a:solidFill>
                  <a:schemeClr val="bg2">
                    <a:lumMod val="75000"/>
                  </a:schemeClr>
                </a:solidFill>
              </a:rPr>
              <a:t>Implementación y Escalabilidad con Docker</a:t>
            </a:r>
            <a:endParaRPr lang="es-CL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CF44C3F3-F004-30B5-05ED-CFFBAE9BF05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00684" y="5197238"/>
            <a:ext cx="6872082" cy="758780"/>
          </a:xfrm>
        </p:spPr>
        <p:txBody>
          <a:bodyPr/>
          <a:lstStyle/>
          <a:p>
            <a:r>
              <a:rPr lang="es-ES" sz="1400" dirty="0">
                <a:solidFill>
                  <a:schemeClr val="accent3"/>
                </a:solidFill>
              </a:rPr>
              <a:t>Las vulnerabilidades críticas detectadas serán probadas en un entorno de </a:t>
            </a:r>
            <a:r>
              <a:rPr lang="es-ES" sz="1400" b="1" dirty="0">
                <a:solidFill>
                  <a:schemeClr val="accent3"/>
                </a:solidFill>
              </a:rPr>
              <a:t>Kali Linux</a:t>
            </a:r>
            <a:r>
              <a:rPr lang="es-ES" sz="1400" dirty="0">
                <a:solidFill>
                  <a:schemeClr val="accent3"/>
                </a:solidFill>
              </a:rPr>
              <a:t> con </a:t>
            </a:r>
            <a:r>
              <a:rPr lang="es-ES" sz="1400" b="1" dirty="0">
                <a:solidFill>
                  <a:schemeClr val="accent3"/>
                </a:solidFill>
              </a:rPr>
              <a:t>Metasploit</a:t>
            </a:r>
            <a:r>
              <a:rPr lang="es-ES" sz="1400" dirty="0">
                <a:solidFill>
                  <a:schemeClr val="accent3"/>
                </a:solidFill>
              </a:rPr>
              <a:t> para evaluar el impacto real de cada hallazgo. Esto permitirá verificar la gravedad de las amenazas y aplicar medidas preventivas efectivas, maximizando la seguridad de la aplicación en ambientes de producción.</a:t>
            </a:r>
            <a:endParaRPr lang="es-CL" dirty="0">
              <a:solidFill>
                <a:schemeClr val="accent3"/>
              </a:solidFill>
            </a:endParaRP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7AD5484B-F8A5-4535-FA2A-91FB278074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74221" y="5316916"/>
            <a:ext cx="1721964" cy="758780"/>
          </a:xfrm>
        </p:spPr>
        <p:txBody>
          <a:bodyPr/>
          <a:lstStyle/>
          <a:p>
            <a:r>
              <a:rPr lang="es-ES" sz="1600" b="0" dirty="0">
                <a:solidFill>
                  <a:schemeClr val="bg2">
                    <a:lumMod val="75000"/>
                  </a:schemeClr>
                </a:solidFill>
              </a:rPr>
              <a:t>Validación de Vulnerabilidades</a:t>
            </a:r>
            <a:endParaRPr lang="es-CL" b="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35" name="Marcador de posición de imagen 34" descr="Portapapeles mezclado con relleno sólido">
            <a:extLst>
              <a:ext uri="{FF2B5EF4-FFF2-40B4-BE49-F238E27FC236}">
                <a16:creationId xmlns:a16="http://schemas.microsoft.com/office/drawing/2014/main" id="{1FA8B022-EACF-AF8D-4311-F671EA325CEC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099" b="7099"/>
          <a:stretch>
            <a:fillRect/>
          </a:stretch>
        </p:blipFill>
        <p:spPr>
          <a:xfrm>
            <a:off x="897488" y="5197238"/>
            <a:ext cx="772234" cy="661702"/>
          </a:xfrm>
        </p:spPr>
      </p:pic>
      <p:pic>
        <p:nvPicPr>
          <p:cNvPr id="37" name="Marcador de posición de imagen 36" descr="Flecha circular con relleno sólido">
            <a:extLst>
              <a:ext uri="{FF2B5EF4-FFF2-40B4-BE49-F238E27FC236}">
                <a16:creationId xmlns:a16="http://schemas.microsoft.com/office/drawing/2014/main" id="{199DD163-70D1-CAC4-E9CD-73609537C91F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202" b="7202"/>
          <a:stretch>
            <a:fillRect/>
          </a:stretch>
        </p:blipFill>
        <p:spPr>
          <a:xfrm>
            <a:off x="917814" y="4087968"/>
            <a:ext cx="772234" cy="661702"/>
          </a:xfrm>
        </p:spPr>
      </p:pic>
      <p:pic>
        <p:nvPicPr>
          <p:cNvPr id="39" name="Marcador de posición de imagen 38" descr="Investigación con relleno sólido">
            <a:extLst>
              <a:ext uri="{FF2B5EF4-FFF2-40B4-BE49-F238E27FC236}">
                <a16:creationId xmlns:a16="http://schemas.microsoft.com/office/drawing/2014/main" id="{B67DAE3C-88CA-49CF-4F1F-4B9E6BA59DC7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7099" b="7099"/>
          <a:stretch>
            <a:fillRect/>
          </a:stretch>
        </p:blipFill>
        <p:spPr>
          <a:xfrm>
            <a:off x="931246" y="1758642"/>
            <a:ext cx="772234" cy="661702"/>
          </a:xfrm>
        </p:spPr>
      </p:pic>
      <p:pic>
        <p:nvPicPr>
          <p:cNvPr id="41" name="Marcador de posición de imagen 40" descr="Laberinto con relleno sólido">
            <a:extLst>
              <a:ext uri="{FF2B5EF4-FFF2-40B4-BE49-F238E27FC236}">
                <a16:creationId xmlns:a16="http://schemas.microsoft.com/office/drawing/2014/main" id="{7EADB53B-27BF-FB66-97D7-DA8AC4976561}"/>
              </a:ext>
            </a:extLst>
          </p:cNvPr>
          <p:cNvPicPr>
            <a:picLocks noGrp="1" noChangeAspect="1"/>
          </p:cNvPicPr>
          <p:nvPr>
            <p:ph type="pic" sz="quarter" idx="52"/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7099" b="7099"/>
          <a:stretch>
            <a:fillRect/>
          </a:stretch>
        </p:blipFill>
        <p:spPr>
          <a:xfrm>
            <a:off x="917814" y="2898443"/>
            <a:ext cx="772234" cy="661702"/>
          </a:xfrm>
        </p:spPr>
      </p:pic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97BD3BA7-5785-8E65-B670-C068CF3C9C3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31246" y="504569"/>
            <a:ext cx="7166722" cy="335548"/>
          </a:xfrm>
        </p:spPr>
        <p:txBody>
          <a:bodyPr/>
          <a:lstStyle/>
          <a:p>
            <a:pPr rtl="0"/>
            <a:r>
              <a:rPr lang="es-ES" sz="3200" dirty="0">
                <a:solidFill>
                  <a:schemeClr val="bg2">
                    <a:lumMod val="75000"/>
                  </a:schemeClr>
                </a:solidFill>
              </a:rPr>
              <a:t>Alcance del proyecto</a:t>
            </a:r>
          </a:p>
          <a:p>
            <a:endParaRPr lang="es-CL" dirty="0"/>
          </a:p>
        </p:txBody>
      </p:sp>
      <p:sp>
        <p:nvSpPr>
          <p:cNvPr id="33" name="Marcador de texto 32">
            <a:extLst>
              <a:ext uri="{FF2B5EF4-FFF2-40B4-BE49-F238E27FC236}">
                <a16:creationId xmlns:a16="http://schemas.microsoft.com/office/drawing/2014/main" id="{83D8CD2E-600D-3EA0-440E-024991DD731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31246" y="1148184"/>
            <a:ext cx="7637037" cy="356282"/>
          </a:xfrm>
        </p:spPr>
        <p:txBody>
          <a:bodyPr/>
          <a:lstStyle/>
          <a:p>
            <a:r>
              <a:rPr lang="es-ES" sz="1600" i="0" u="none" strike="noStrike" cap="none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Los alcances principales son los siguientes</a:t>
            </a:r>
            <a:r>
              <a:rPr lang="en-US" sz="1600" i="0" u="none" strike="noStrike" cap="none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: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1612667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7" row="3">
    <wetp:webextensionref xmlns:r="http://schemas.openxmlformats.org/officeDocument/2006/relationships" r:id="rId1"/>
  </wetp:taskpane>
  <wetp:taskpane dockstate="right" visibility="0" width="613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6CDC427-0316-4931-892C-C6BDF38C2638}">
  <we:reference id="wa200006805" version="1.0.0.0" store="es-ES" storeType="OMEX"/>
  <we:alternateReferences>
    <we:reference id="WA200006805" version="1.0.0.0" store="WA200006805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B5C7A75-83A3-4357-BAA2-531B422B43BF}">
  <we:reference id="wa200005566" version="3.0.0.2" store="es-ES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9473</TotalTime>
  <Words>869</Words>
  <Application>Microsoft Office PowerPoint</Application>
  <PresentationFormat>Panorámica</PresentationFormat>
  <Paragraphs>140</Paragraphs>
  <Slides>22</Slides>
  <Notes>1</Notes>
  <HiddenSlides>0</HiddenSlides>
  <MMClips>1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1" baseType="lpstr">
      <vt:lpstr>.Lucida Grande UI Regular</vt:lpstr>
      <vt:lpstr>Arial</vt:lpstr>
      <vt:lpstr>Calibri</vt:lpstr>
      <vt:lpstr>Helvetica Neue Medium</vt:lpstr>
      <vt:lpstr>Montserrat</vt:lpstr>
      <vt:lpstr>Raleway</vt:lpstr>
      <vt:lpstr>Wingdings</vt:lpstr>
      <vt:lpstr>21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obotPenteste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benjamin andres ramirez espinoza</cp:lastModifiedBy>
  <cp:revision>333</cp:revision>
  <dcterms:created xsi:type="dcterms:W3CDTF">2020-05-27T23:52:59Z</dcterms:created>
  <dcterms:modified xsi:type="dcterms:W3CDTF">2024-12-11T01:17:12Z</dcterms:modified>
  <cp:category/>
</cp:coreProperties>
</file>